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6" r:id="rId3"/>
    <p:sldId id="259" r:id="rId4"/>
    <p:sldId id="258" r:id="rId5"/>
    <p:sldId id="260" r:id="rId6"/>
    <p:sldId id="261" r:id="rId7"/>
    <p:sldId id="282" r:id="rId8"/>
    <p:sldId id="283" r:id="rId9"/>
    <p:sldId id="285" r:id="rId10"/>
    <p:sldId id="284" r:id="rId11"/>
    <p:sldId id="286" r:id="rId12"/>
    <p:sldId id="287" r:id="rId13"/>
    <p:sldId id="288" r:id="rId14"/>
    <p:sldId id="289" r:id="rId15"/>
    <p:sldId id="290" r:id="rId16"/>
    <p:sldId id="291" r:id="rId17"/>
    <p:sldId id="292" r:id="rId18"/>
    <p:sldId id="262" r:id="rId19"/>
    <p:sldId id="263" r:id="rId20"/>
    <p:sldId id="299" r:id="rId21"/>
    <p:sldId id="300" r:id="rId22"/>
    <p:sldId id="301" r:id="rId23"/>
    <p:sldId id="302" r:id="rId24"/>
    <p:sldId id="264" r:id="rId25"/>
    <p:sldId id="304" r:id="rId26"/>
    <p:sldId id="265" r:id="rId27"/>
    <p:sldId id="266" r:id="rId28"/>
    <p:sldId id="306" r:id="rId29"/>
    <p:sldId id="307" r:id="rId30"/>
    <p:sldId id="308" r:id="rId31"/>
    <p:sldId id="309" r:id="rId32"/>
    <p:sldId id="303" r:id="rId33"/>
    <p:sldId id="267" r:id="rId34"/>
    <p:sldId id="268" r:id="rId35"/>
    <p:sldId id="269" r:id="rId36"/>
    <p:sldId id="305" r:id="rId37"/>
    <p:sldId id="270" r:id="rId38"/>
    <p:sldId id="271" r:id="rId39"/>
    <p:sldId id="272" r:id="rId40"/>
    <p:sldId id="273" r:id="rId41"/>
    <p:sldId id="274" r:id="rId42"/>
    <p:sldId id="275" r:id="rId43"/>
    <p:sldId id="276" r:id="rId44"/>
    <p:sldId id="277" r:id="rId45"/>
    <p:sldId id="278" r:id="rId46"/>
    <p:sldId id="279" r:id="rId47"/>
    <p:sldId id="280" r:id="rId48"/>
    <p:sldId id="281" r:id="rId49"/>
    <p:sldId id="293" r:id="rId50"/>
    <p:sldId id="294" r:id="rId51"/>
    <p:sldId id="295" r:id="rId52"/>
    <p:sldId id="296" r:id="rId53"/>
    <p:sldId id="297" r:id="rId54"/>
    <p:sldId id="298" r:id="rId55"/>
    <p:sldId id="312" r:id="rId56"/>
    <p:sldId id="310" r:id="rId57"/>
    <p:sldId id="311" r:id="rId58"/>
    <p:sldId id="313" r:id="rId59"/>
    <p:sldId id="315" r:id="rId60"/>
    <p:sldId id="316" r:id="rId61"/>
    <p:sldId id="314" r:id="rId62"/>
    <p:sldId id="317" r:id="rId63"/>
    <p:sldId id="318" r:id="rId64"/>
    <p:sldId id="319" r:id="rId65"/>
    <p:sldId id="320" r:id="rId66"/>
    <p:sldId id="321" r:id="rId67"/>
    <p:sldId id="322" r:id="rId68"/>
    <p:sldId id="323" r:id="rId69"/>
    <p:sldId id="324" r:id="rId70"/>
    <p:sldId id="325" r:id="rId71"/>
    <p:sldId id="326" r:id="rId72"/>
    <p:sldId id="327" r:id="rId73"/>
    <p:sldId id="328" r:id="rId74"/>
    <p:sldId id="330" r:id="rId75"/>
    <p:sldId id="331" r:id="rId76"/>
    <p:sldId id="332" r:id="rId77"/>
    <p:sldId id="349" r:id="rId78"/>
    <p:sldId id="346" r:id="rId79"/>
    <p:sldId id="347" r:id="rId80"/>
    <p:sldId id="348" r:id="rId81"/>
    <p:sldId id="351" r:id="rId82"/>
    <p:sldId id="352" r:id="rId83"/>
    <p:sldId id="353" r:id="rId84"/>
    <p:sldId id="333" r:id="rId85"/>
    <p:sldId id="350" r:id="rId86"/>
    <p:sldId id="334" r:id="rId87"/>
    <p:sldId id="335" r:id="rId88"/>
    <p:sldId id="338" r:id="rId89"/>
    <p:sldId id="339" r:id="rId90"/>
    <p:sldId id="341" r:id="rId91"/>
    <p:sldId id="340" r:id="rId92"/>
    <p:sldId id="342" r:id="rId93"/>
    <p:sldId id="355" r:id="rId94"/>
    <p:sldId id="344" r:id="rId95"/>
    <p:sldId id="357" r:id="rId96"/>
    <p:sldId id="356" r:id="rId97"/>
    <p:sldId id="345" r:id="rId98"/>
  </p:sldIdLst>
  <p:sldSz cx="7199313" cy="7199313"/>
  <p:notesSz cx="6858000" cy="9144000"/>
  <p:custDataLst>
    <p:tags r:id="rId9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892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theme" Target="theme/theme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tags" Target="tags/tag1.xml"/><Relationship Id="rId10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062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949" y="1178222"/>
            <a:ext cx="6119416" cy="2506427"/>
          </a:xfrm>
        </p:spPr>
        <p:txBody>
          <a:bodyPr anchor="b"/>
          <a:lstStyle>
            <a:lvl1pPr algn="ctr">
              <a:defRPr sz="4724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914" y="3781306"/>
            <a:ext cx="5399485" cy="1738167"/>
          </a:xfrm>
        </p:spPr>
        <p:txBody>
          <a:bodyPr/>
          <a:lstStyle>
            <a:lvl1pPr marL="0" indent="0" algn="ctr">
              <a:buNone/>
              <a:defRPr sz="1890"/>
            </a:lvl1pPr>
            <a:lvl2pPr marL="359954" indent="0" algn="ctr">
              <a:buNone/>
              <a:defRPr sz="1575"/>
            </a:lvl2pPr>
            <a:lvl3pPr marL="719907" indent="0" algn="ctr">
              <a:buNone/>
              <a:defRPr sz="1417"/>
            </a:lvl3pPr>
            <a:lvl4pPr marL="1079861" indent="0" algn="ctr">
              <a:buNone/>
              <a:defRPr sz="1260"/>
            </a:lvl4pPr>
            <a:lvl5pPr marL="1439814" indent="0" algn="ctr">
              <a:buNone/>
              <a:defRPr sz="1260"/>
            </a:lvl5pPr>
            <a:lvl6pPr marL="1799768" indent="0" algn="ctr">
              <a:buNone/>
              <a:defRPr sz="1260"/>
            </a:lvl6pPr>
            <a:lvl7pPr marL="2159721" indent="0" algn="ctr">
              <a:buNone/>
              <a:defRPr sz="1260"/>
            </a:lvl7pPr>
            <a:lvl8pPr marL="2519675" indent="0" algn="ctr">
              <a:buNone/>
              <a:defRPr sz="1260"/>
            </a:lvl8pPr>
            <a:lvl9pPr marL="2879628" indent="0" algn="ctr">
              <a:buNone/>
              <a:defRPr sz="126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051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612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152009" y="383297"/>
            <a:ext cx="1552352" cy="610108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4953" y="383297"/>
            <a:ext cx="4567064" cy="610108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03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3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533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204" y="1794831"/>
            <a:ext cx="6209407" cy="2994714"/>
          </a:xfrm>
        </p:spPr>
        <p:txBody>
          <a:bodyPr anchor="b"/>
          <a:lstStyle>
            <a:lvl1pPr>
              <a:defRPr sz="4724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1204" y="4817876"/>
            <a:ext cx="6209407" cy="1574849"/>
          </a:xfrm>
        </p:spPr>
        <p:txBody>
          <a:bodyPr/>
          <a:lstStyle>
            <a:lvl1pPr marL="0" indent="0">
              <a:buNone/>
              <a:defRPr sz="1890">
                <a:solidFill>
                  <a:schemeClr val="tx1"/>
                </a:solidFill>
              </a:defRPr>
            </a:lvl1pPr>
            <a:lvl2pPr marL="35995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19907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3pPr>
            <a:lvl4pPr marL="107986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39814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79976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5972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1967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7962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630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953" y="1916484"/>
            <a:ext cx="3059708" cy="456789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44652" y="1916484"/>
            <a:ext cx="3059708" cy="456789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890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1" y="383299"/>
            <a:ext cx="6209407" cy="13915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891" y="1764832"/>
            <a:ext cx="3045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91" y="2629749"/>
            <a:ext cx="3045646" cy="386796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44652" y="1764832"/>
            <a:ext cx="3060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644652" y="2629749"/>
            <a:ext cx="3060646" cy="386796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47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1100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306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0646" y="1036570"/>
            <a:ext cx="3644652" cy="5116178"/>
          </a:xfrm>
        </p:spPr>
        <p:txBody>
          <a:bodyPr/>
          <a:lstStyle>
            <a:lvl1pPr>
              <a:defRPr sz="2519"/>
            </a:lvl1pPr>
            <a:lvl2pPr>
              <a:defRPr sz="2204"/>
            </a:lvl2pPr>
            <a:lvl3pPr>
              <a:defRPr sz="189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796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060646" y="1036570"/>
            <a:ext cx="3644652" cy="5116178"/>
          </a:xfrm>
        </p:spPr>
        <p:txBody>
          <a:bodyPr anchor="t"/>
          <a:lstStyle>
            <a:lvl1pPr marL="0" indent="0">
              <a:buNone/>
              <a:defRPr sz="2519"/>
            </a:lvl1pPr>
            <a:lvl2pPr marL="359954" indent="0">
              <a:buNone/>
              <a:defRPr sz="2204"/>
            </a:lvl2pPr>
            <a:lvl3pPr marL="719907" indent="0">
              <a:buNone/>
              <a:defRPr sz="1890"/>
            </a:lvl3pPr>
            <a:lvl4pPr marL="1079861" indent="0">
              <a:buNone/>
              <a:defRPr sz="1575"/>
            </a:lvl4pPr>
            <a:lvl5pPr marL="1439814" indent="0">
              <a:buNone/>
              <a:defRPr sz="1575"/>
            </a:lvl5pPr>
            <a:lvl6pPr marL="1799768" indent="0">
              <a:buNone/>
              <a:defRPr sz="1575"/>
            </a:lvl6pPr>
            <a:lvl7pPr marL="2159721" indent="0">
              <a:buNone/>
              <a:defRPr sz="1575"/>
            </a:lvl7pPr>
            <a:lvl8pPr marL="2519675" indent="0">
              <a:buNone/>
              <a:defRPr sz="1575"/>
            </a:lvl8pPr>
            <a:lvl9pPr marL="2879628" indent="0">
              <a:buNone/>
              <a:defRPr sz="1575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128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gCheck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08964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92" imgH="588" progId="TCLayout.ActiveDocument.1">
                  <p:embed/>
                </p:oleObj>
              </mc:Choice>
              <mc:Fallback>
                <p:oleObj name="think-cell Folie" r:id="rId15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6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4953" y="383299"/>
            <a:ext cx="6209407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4953" y="1916484"/>
            <a:ext cx="6209407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4953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EFB77-D67C-4B41-8660-F7D06438CC8C}" type="datetimeFigureOut">
              <a:rPr lang="de-DE" smtClean="0"/>
              <a:t>24.01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84773" y="6672698"/>
            <a:ext cx="24297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84515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822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19907" rtl="0" eaLnBrk="1" latinLnBrk="0" hangingPunct="1">
        <a:lnSpc>
          <a:spcPct val="90000"/>
        </a:lnSpc>
        <a:spcBef>
          <a:spcPct val="0"/>
        </a:spcBef>
        <a:buNone/>
        <a:defRPr sz="346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77" indent="-179977" algn="l" defTabSz="71990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1pPr>
      <a:lvl2pPr marL="539930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899884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59837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619791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97974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339698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699652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305960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1pPr>
      <a:lvl2pPr marL="35995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2pPr>
      <a:lvl3pPr marL="719907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07986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43981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79976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15972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519675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287962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0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.png"/><Relationship Id="rId4" Type="http://schemas.openxmlformats.org/officeDocument/2006/relationships/tags" Target="../tags/tag21.xml"/><Relationship Id="rId9" Type="http://schemas.openxmlformats.org/officeDocument/2006/relationships/image" Target="../media/image4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2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2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2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.xml"/><Relationship Id="rId7" Type="http://schemas.openxmlformats.org/officeDocument/2006/relationships/oleObject" Target="../embeddings/oleObject36.bin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4.xml"/><Relationship Id="rId7" Type="http://schemas.openxmlformats.org/officeDocument/2006/relationships/oleObject" Target="../embeddings/oleObject37.bin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.xml"/><Relationship Id="rId7" Type="http://schemas.openxmlformats.org/officeDocument/2006/relationships/oleObject" Target="../embeddings/oleObject38.bin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4" Type="http://schemas.openxmlformats.org/officeDocument/2006/relationships/image" Target="../media/image2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4" Type="http://schemas.openxmlformats.org/officeDocument/2006/relationships/image" Target="../media/image2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4" Type="http://schemas.openxmlformats.org/officeDocument/2006/relationships/image" Target="../media/image2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4" Type="http://schemas.openxmlformats.org/officeDocument/2006/relationships/image" Target="../media/image2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4" Type="http://schemas.openxmlformats.org/officeDocument/2006/relationships/image" Target="../media/image2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4" Type="http://schemas.openxmlformats.org/officeDocument/2006/relationships/image" Target="../media/image2.e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Relationship Id="rId4" Type="http://schemas.openxmlformats.org/officeDocument/2006/relationships/image" Target="../media/image2.emf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986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157837" y="120073"/>
            <a:ext cx="3049684" cy="3862353"/>
            <a:chOff x="61590" y="97992"/>
            <a:chExt cx="3049684" cy="3862353"/>
          </a:xfrm>
        </p:grpSpPr>
        <p:sp>
          <p:nvSpPr>
            <p:cNvPr id="4" name="Rechteck 3"/>
            <p:cNvSpPr/>
            <p:nvPr/>
          </p:nvSpPr>
          <p:spPr>
            <a:xfrm>
              <a:off x="61590" y="97992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5" name="Rechteck 4"/>
            <p:cNvSpPr/>
            <p:nvPr/>
          </p:nvSpPr>
          <p:spPr>
            <a:xfrm>
              <a:off x="1730432" y="97992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7" name="Rechteck 6"/>
            <p:cNvSpPr/>
            <p:nvPr/>
          </p:nvSpPr>
          <p:spPr>
            <a:xfrm>
              <a:off x="61590" y="1481443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730432" y="1481443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61590" y="2864894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730432" y="2864894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</p:grpSp>
      <p:sp>
        <p:nvSpPr>
          <p:cNvPr id="16" name="Rechteck 15"/>
          <p:cNvSpPr/>
          <p:nvPr/>
        </p:nvSpPr>
        <p:spPr>
          <a:xfrm>
            <a:off x="3769037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7" name="Rechteck 16"/>
          <p:cNvSpPr/>
          <p:nvPr/>
        </p:nvSpPr>
        <p:spPr>
          <a:xfrm>
            <a:off x="3769037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8" name="Rechteck 17"/>
          <p:cNvSpPr/>
          <p:nvPr/>
        </p:nvSpPr>
        <p:spPr>
          <a:xfrm>
            <a:off x="4949959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0" name="Rechteck 19"/>
          <p:cNvSpPr/>
          <p:nvPr/>
        </p:nvSpPr>
        <p:spPr>
          <a:xfrm>
            <a:off x="4949959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1" name="Rechteck 20"/>
          <p:cNvSpPr/>
          <p:nvPr/>
        </p:nvSpPr>
        <p:spPr>
          <a:xfrm>
            <a:off x="6130881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4" name="Rechteck 23"/>
          <p:cNvSpPr/>
          <p:nvPr/>
        </p:nvSpPr>
        <p:spPr>
          <a:xfrm>
            <a:off x="6130881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iger Pfeil 3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9935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7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0627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6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77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5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67745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4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4227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3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6768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2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6929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1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978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174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168590" y="835372"/>
            <a:ext cx="6862132" cy="1554856"/>
            <a:chOff x="17508" y="2576185"/>
            <a:chExt cx="7164297" cy="2046942"/>
          </a:xfrm>
        </p:grpSpPr>
        <p:grpSp>
          <p:nvGrpSpPr>
            <p:cNvPr id="7" name="Gruppieren 6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4" name="Rechteck 3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Rechteck 4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hteck 5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8" name="Rechteck 7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hteck 9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uppieren 14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2" name="Rechteck 1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hteck 1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hteck 1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uppieren 18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6" name="Rechteck 1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hteck 1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hteck 1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7" name="Gruppieren 56"/>
          <p:cNvGrpSpPr/>
          <p:nvPr/>
        </p:nvGrpSpPr>
        <p:grpSpPr>
          <a:xfrm>
            <a:off x="168590" y="2822228"/>
            <a:ext cx="6862132" cy="1554856"/>
            <a:chOff x="168590" y="2644588"/>
            <a:chExt cx="6862132" cy="1960609"/>
          </a:xfrm>
        </p:grpSpPr>
        <p:grpSp>
          <p:nvGrpSpPr>
            <p:cNvPr id="23" name="Gruppieren 22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6" name="Rechteck 3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hteck 3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hteck 3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" name="Gruppieren 23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3" name="Rechteck 32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hteck 33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hteck 34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uppieren 24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0" name="Rechteck 29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hteck 30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hteck 3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" name="Gruppieren 25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27" name="Rechteck 26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hteck 27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hteck 28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8" name="Gruppieren 77"/>
          <p:cNvGrpSpPr/>
          <p:nvPr/>
        </p:nvGrpSpPr>
        <p:grpSpPr>
          <a:xfrm>
            <a:off x="168590" y="4809084"/>
            <a:ext cx="6862132" cy="1554856"/>
            <a:chOff x="168590" y="4945209"/>
            <a:chExt cx="6862132" cy="1960609"/>
          </a:xfrm>
        </p:grpSpPr>
        <p:grpSp>
          <p:nvGrpSpPr>
            <p:cNvPr id="62" name="Gruppieren 61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5" name="Rechteck 74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75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76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3" name="Gruppieren 62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2" name="Rechteck 7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Rechteck 7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7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4" name="Gruppieren 63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9" name="Rechteck 68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hteck 69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hteck 70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5" name="Gruppieren 64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6" name="Rechteck 65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chteck 66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Rechteck 67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1951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423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992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2365110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2365110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4033952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4033952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5702794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8" name="Rechteck 37"/>
          <p:cNvSpPr/>
          <p:nvPr/>
        </p:nvSpPr>
        <p:spPr>
          <a:xfrm>
            <a:off x="5702794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4" name="Rechteck 53"/>
          <p:cNvSpPr/>
          <p:nvPr/>
        </p:nvSpPr>
        <p:spPr>
          <a:xfrm>
            <a:off x="157837" y="120073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5" name="Rechteck 54"/>
          <p:cNvSpPr/>
          <p:nvPr/>
        </p:nvSpPr>
        <p:spPr>
          <a:xfrm>
            <a:off x="1826679" y="12007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6" name="Rechteck 55"/>
          <p:cNvSpPr/>
          <p:nvPr/>
        </p:nvSpPr>
        <p:spPr>
          <a:xfrm>
            <a:off x="157837" y="1503524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7" name="Rechteck 56"/>
          <p:cNvSpPr/>
          <p:nvPr/>
        </p:nvSpPr>
        <p:spPr>
          <a:xfrm>
            <a:off x="1826679" y="1503524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8" name="Rechteck 57"/>
          <p:cNvSpPr/>
          <p:nvPr/>
        </p:nvSpPr>
        <p:spPr>
          <a:xfrm>
            <a:off x="157837" y="2886975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9" name="Rechteck 58"/>
          <p:cNvSpPr/>
          <p:nvPr/>
        </p:nvSpPr>
        <p:spPr>
          <a:xfrm>
            <a:off x="1826679" y="2886975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1" name="Rechteckiger Pfeil 6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8653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500" b="1" dirty="0">
              <a:solidFill>
                <a:schemeClr val="tx1"/>
              </a:solidFill>
            </a:endParaRPr>
          </a:p>
        </p:txBody>
      </p:sp>
      <p:sp>
        <p:nvSpPr>
          <p:cNvPr id="5" name="Freihandform 4"/>
          <p:cNvSpPr/>
          <p:nvPr/>
        </p:nvSpPr>
        <p:spPr>
          <a:xfrm>
            <a:off x="607944" y="2618235"/>
            <a:ext cx="5983425" cy="1962843"/>
          </a:xfrm>
          <a:custGeom>
            <a:avLst/>
            <a:gdLst/>
            <a:ahLst/>
            <a:cxnLst/>
            <a:rect l="l" t="t" r="r" b="b"/>
            <a:pathLst>
              <a:path w="5983425" h="1962843">
                <a:moveTo>
                  <a:pt x="5277217" y="765553"/>
                </a:moveTo>
                <a:cubicBezTo>
                  <a:pt x="5221828" y="765553"/>
                  <a:pt x="5173363" y="775691"/>
                  <a:pt x="5131821" y="795967"/>
                </a:cubicBezTo>
                <a:cubicBezTo>
                  <a:pt x="5090280" y="816244"/>
                  <a:pt x="5056156" y="845916"/>
                  <a:pt x="5029451" y="884985"/>
                </a:cubicBezTo>
                <a:cubicBezTo>
                  <a:pt x="5002745" y="924054"/>
                  <a:pt x="4982716" y="971036"/>
                  <a:pt x="4969364" y="1025930"/>
                </a:cubicBezTo>
                <a:cubicBezTo>
                  <a:pt x="4956011" y="1080824"/>
                  <a:pt x="4949335" y="1143384"/>
                  <a:pt x="4949335" y="1213609"/>
                </a:cubicBezTo>
                <a:cubicBezTo>
                  <a:pt x="4949335" y="1278889"/>
                  <a:pt x="4954775" y="1338976"/>
                  <a:pt x="4965655" y="1393870"/>
                </a:cubicBezTo>
                <a:cubicBezTo>
                  <a:pt x="4976535" y="1448765"/>
                  <a:pt x="4994091" y="1496488"/>
                  <a:pt x="5018324" y="1537041"/>
                </a:cubicBezTo>
                <a:cubicBezTo>
                  <a:pt x="5042556" y="1577593"/>
                  <a:pt x="5075443" y="1608997"/>
                  <a:pt x="5116985" y="1631251"/>
                </a:cubicBezTo>
                <a:cubicBezTo>
                  <a:pt x="5158527" y="1653506"/>
                  <a:pt x="5209959" y="1664633"/>
                  <a:pt x="5271283" y="1664633"/>
                </a:cubicBezTo>
                <a:cubicBezTo>
                  <a:pt x="5327661" y="1664633"/>
                  <a:pt x="5376620" y="1654495"/>
                  <a:pt x="5418162" y="1634218"/>
                </a:cubicBezTo>
                <a:cubicBezTo>
                  <a:pt x="5459704" y="1613942"/>
                  <a:pt x="5493827" y="1584517"/>
                  <a:pt x="5520532" y="1545942"/>
                </a:cubicBezTo>
                <a:cubicBezTo>
                  <a:pt x="5547238" y="1507368"/>
                  <a:pt x="5567020" y="1460634"/>
                  <a:pt x="5579878" y="1405739"/>
                </a:cubicBezTo>
                <a:cubicBezTo>
                  <a:pt x="5592736" y="1350845"/>
                  <a:pt x="5599165" y="1288285"/>
                  <a:pt x="5599165" y="1218060"/>
                </a:cubicBezTo>
                <a:cubicBezTo>
                  <a:pt x="5599165" y="1152780"/>
                  <a:pt x="5593972" y="1092694"/>
                  <a:pt x="5583587" y="1037799"/>
                </a:cubicBezTo>
                <a:cubicBezTo>
                  <a:pt x="5573201" y="982905"/>
                  <a:pt x="5555645" y="935181"/>
                  <a:pt x="5530918" y="894629"/>
                </a:cubicBezTo>
                <a:cubicBezTo>
                  <a:pt x="5506191" y="854076"/>
                  <a:pt x="5473303" y="822425"/>
                  <a:pt x="5432256" y="799677"/>
                </a:cubicBezTo>
                <a:cubicBezTo>
                  <a:pt x="5391210" y="776927"/>
                  <a:pt x="5339530" y="765553"/>
                  <a:pt x="5277217" y="765553"/>
                </a:cubicBezTo>
                <a:close/>
                <a:moveTo>
                  <a:pt x="2165751" y="495532"/>
                </a:moveTo>
                <a:cubicBezTo>
                  <a:pt x="2202348" y="495532"/>
                  <a:pt x="2232515" y="496769"/>
                  <a:pt x="2256253" y="499241"/>
                </a:cubicBezTo>
                <a:cubicBezTo>
                  <a:pt x="2279991" y="501714"/>
                  <a:pt x="2299031" y="505423"/>
                  <a:pt x="2313373" y="510369"/>
                </a:cubicBezTo>
                <a:cubicBezTo>
                  <a:pt x="2327714" y="515314"/>
                  <a:pt x="2337853" y="521496"/>
                  <a:pt x="2343787" y="528914"/>
                </a:cubicBezTo>
                <a:cubicBezTo>
                  <a:pt x="2349722" y="536332"/>
                  <a:pt x="2352689" y="544987"/>
                  <a:pt x="2352689" y="554877"/>
                </a:cubicBezTo>
                <a:lnTo>
                  <a:pt x="2352689" y="1302627"/>
                </a:lnTo>
                <a:cubicBezTo>
                  <a:pt x="2352689" y="1371863"/>
                  <a:pt x="2357140" y="1424779"/>
                  <a:pt x="2366041" y="1461376"/>
                </a:cubicBezTo>
                <a:cubicBezTo>
                  <a:pt x="2374943" y="1497972"/>
                  <a:pt x="2388544" y="1529375"/>
                  <a:pt x="2406842" y="1555586"/>
                </a:cubicBezTo>
                <a:cubicBezTo>
                  <a:pt x="2425140" y="1581797"/>
                  <a:pt x="2448383" y="1602073"/>
                  <a:pt x="2476572" y="1616415"/>
                </a:cubicBezTo>
                <a:cubicBezTo>
                  <a:pt x="2504761" y="1630757"/>
                  <a:pt x="2537648" y="1637927"/>
                  <a:pt x="2575233" y="1637927"/>
                </a:cubicBezTo>
                <a:cubicBezTo>
                  <a:pt x="2622709" y="1637927"/>
                  <a:pt x="2670433" y="1620619"/>
                  <a:pt x="2718404" y="1586000"/>
                </a:cubicBezTo>
                <a:cubicBezTo>
                  <a:pt x="2766374" y="1551382"/>
                  <a:pt x="2817560" y="1500939"/>
                  <a:pt x="2871959" y="1434670"/>
                </a:cubicBezTo>
                <a:lnTo>
                  <a:pt x="2871959" y="554877"/>
                </a:lnTo>
                <a:cubicBezTo>
                  <a:pt x="2871959" y="544987"/>
                  <a:pt x="2874679" y="536332"/>
                  <a:pt x="2880119" y="528914"/>
                </a:cubicBezTo>
                <a:cubicBezTo>
                  <a:pt x="2885559" y="521496"/>
                  <a:pt x="2895450" y="515314"/>
                  <a:pt x="2909792" y="510369"/>
                </a:cubicBezTo>
                <a:cubicBezTo>
                  <a:pt x="2924134" y="505423"/>
                  <a:pt x="2943174" y="501714"/>
                  <a:pt x="2966912" y="499241"/>
                </a:cubicBezTo>
                <a:cubicBezTo>
                  <a:pt x="2990650" y="496769"/>
                  <a:pt x="3020817" y="495532"/>
                  <a:pt x="3057413" y="495532"/>
                </a:cubicBezTo>
                <a:cubicBezTo>
                  <a:pt x="3094010" y="495532"/>
                  <a:pt x="3124177" y="496769"/>
                  <a:pt x="3147915" y="499241"/>
                </a:cubicBezTo>
                <a:cubicBezTo>
                  <a:pt x="3171653" y="501714"/>
                  <a:pt x="3190445" y="505423"/>
                  <a:pt x="3204293" y="510369"/>
                </a:cubicBezTo>
                <a:cubicBezTo>
                  <a:pt x="3218140" y="515314"/>
                  <a:pt x="3228031" y="521496"/>
                  <a:pt x="3233965" y="528914"/>
                </a:cubicBezTo>
                <a:cubicBezTo>
                  <a:pt x="3239900" y="536332"/>
                  <a:pt x="3242867" y="544987"/>
                  <a:pt x="3242867" y="554877"/>
                </a:cubicBezTo>
                <a:lnTo>
                  <a:pt x="3242867" y="1878276"/>
                </a:lnTo>
                <a:cubicBezTo>
                  <a:pt x="3242867" y="1888167"/>
                  <a:pt x="3240394" y="1896821"/>
                  <a:pt x="3235449" y="1904239"/>
                </a:cubicBezTo>
                <a:cubicBezTo>
                  <a:pt x="3230503" y="1911657"/>
                  <a:pt x="3221849" y="1917839"/>
                  <a:pt x="3209485" y="1922784"/>
                </a:cubicBezTo>
                <a:cubicBezTo>
                  <a:pt x="3197122" y="1927730"/>
                  <a:pt x="3180802" y="1931439"/>
                  <a:pt x="3160526" y="1933912"/>
                </a:cubicBezTo>
                <a:cubicBezTo>
                  <a:pt x="3140249" y="1936385"/>
                  <a:pt x="3114780" y="1937621"/>
                  <a:pt x="3084119" y="1937621"/>
                </a:cubicBezTo>
                <a:cubicBezTo>
                  <a:pt x="3051479" y="1937621"/>
                  <a:pt x="3025021" y="1936385"/>
                  <a:pt x="3004744" y="1933912"/>
                </a:cubicBezTo>
                <a:cubicBezTo>
                  <a:pt x="2984468" y="1931439"/>
                  <a:pt x="2968395" y="1927730"/>
                  <a:pt x="2956526" y="1922784"/>
                </a:cubicBezTo>
                <a:cubicBezTo>
                  <a:pt x="2944657" y="1917839"/>
                  <a:pt x="2936250" y="1911657"/>
                  <a:pt x="2931305" y="1904239"/>
                </a:cubicBezTo>
                <a:cubicBezTo>
                  <a:pt x="2926359" y="1896821"/>
                  <a:pt x="2923886" y="1888167"/>
                  <a:pt x="2923886" y="1878276"/>
                </a:cubicBezTo>
                <a:lnTo>
                  <a:pt x="2923886" y="1725462"/>
                </a:lnTo>
                <a:cubicBezTo>
                  <a:pt x="2850694" y="1804589"/>
                  <a:pt x="2776265" y="1863934"/>
                  <a:pt x="2700600" y="1903497"/>
                </a:cubicBezTo>
                <a:cubicBezTo>
                  <a:pt x="2624935" y="1943061"/>
                  <a:pt x="2546550" y="1962843"/>
                  <a:pt x="2465445" y="1962843"/>
                </a:cubicBezTo>
                <a:cubicBezTo>
                  <a:pt x="2374449" y="1962843"/>
                  <a:pt x="2298042" y="1948006"/>
                  <a:pt x="2236224" y="1918334"/>
                </a:cubicBezTo>
                <a:cubicBezTo>
                  <a:pt x="2174406" y="1888661"/>
                  <a:pt x="2124457" y="1848109"/>
                  <a:pt x="2086377" y="1796676"/>
                </a:cubicBezTo>
                <a:cubicBezTo>
                  <a:pt x="2048297" y="1745244"/>
                  <a:pt x="2021097" y="1685651"/>
                  <a:pt x="2004777" y="1617898"/>
                </a:cubicBezTo>
                <a:cubicBezTo>
                  <a:pt x="1988458" y="1550146"/>
                  <a:pt x="1980297" y="1465826"/>
                  <a:pt x="1980297" y="1364940"/>
                </a:cubicBezTo>
                <a:lnTo>
                  <a:pt x="1980297" y="554877"/>
                </a:lnTo>
                <a:cubicBezTo>
                  <a:pt x="1980297" y="544987"/>
                  <a:pt x="1983017" y="536332"/>
                  <a:pt x="1988458" y="528914"/>
                </a:cubicBezTo>
                <a:cubicBezTo>
                  <a:pt x="1993897" y="521496"/>
                  <a:pt x="2003788" y="515314"/>
                  <a:pt x="2018130" y="510369"/>
                </a:cubicBezTo>
                <a:cubicBezTo>
                  <a:pt x="2032472" y="505423"/>
                  <a:pt x="2051759" y="501714"/>
                  <a:pt x="2075992" y="499241"/>
                </a:cubicBezTo>
                <a:cubicBezTo>
                  <a:pt x="2100224" y="496769"/>
                  <a:pt x="2130144" y="495532"/>
                  <a:pt x="2165751" y="495532"/>
                </a:cubicBezTo>
                <a:close/>
                <a:moveTo>
                  <a:pt x="5290570" y="470311"/>
                </a:moveTo>
                <a:cubicBezTo>
                  <a:pt x="5409260" y="470311"/>
                  <a:pt x="5512125" y="486383"/>
                  <a:pt x="5599165" y="518529"/>
                </a:cubicBezTo>
                <a:cubicBezTo>
                  <a:pt x="5686204" y="550674"/>
                  <a:pt x="5758160" y="597903"/>
                  <a:pt x="5815033" y="660215"/>
                </a:cubicBezTo>
                <a:cubicBezTo>
                  <a:pt x="5871906" y="722528"/>
                  <a:pt x="5914189" y="799182"/>
                  <a:pt x="5941883" y="890178"/>
                </a:cubicBezTo>
                <a:cubicBezTo>
                  <a:pt x="5969578" y="981174"/>
                  <a:pt x="5983425" y="1085523"/>
                  <a:pt x="5983425" y="1203224"/>
                </a:cubicBezTo>
                <a:cubicBezTo>
                  <a:pt x="5983425" y="1315980"/>
                  <a:pt x="5968589" y="1418845"/>
                  <a:pt x="5938916" y="1511819"/>
                </a:cubicBezTo>
                <a:cubicBezTo>
                  <a:pt x="5909244" y="1604793"/>
                  <a:pt x="5864240" y="1684909"/>
                  <a:pt x="5803906" y="1752167"/>
                </a:cubicBezTo>
                <a:cubicBezTo>
                  <a:pt x="5743572" y="1819425"/>
                  <a:pt x="5667907" y="1871352"/>
                  <a:pt x="5576910" y="1907948"/>
                </a:cubicBezTo>
                <a:cubicBezTo>
                  <a:pt x="5485914" y="1944544"/>
                  <a:pt x="5379588" y="1962843"/>
                  <a:pt x="5257930" y="1962843"/>
                </a:cubicBezTo>
                <a:cubicBezTo>
                  <a:pt x="5140228" y="1962843"/>
                  <a:pt x="5037858" y="1946523"/>
                  <a:pt x="4950818" y="1913883"/>
                </a:cubicBezTo>
                <a:cubicBezTo>
                  <a:pt x="4863779" y="1881243"/>
                  <a:pt x="4791576" y="1833767"/>
                  <a:pt x="4734208" y="1771454"/>
                </a:cubicBezTo>
                <a:cubicBezTo>
                  <a:pt x="4676842" y="1709142"/>
                  <a:pt x="4634311" y="1632488"/>
                  <a:pt x="4606616" y="1541491"/>
                </a:cubicBezTo>
                <a:cubicBezTo>
                  <a:pt x="4578922" y="1450496"/>
                  <a:pt x="4565075" y="1346641"/>
                  <a:pt x="4565075" y="1229929"/>
                </a:cubicBezTo>
                <a:cubicBezTo>
                  <a:pt x="4565075" y="1117173"/>
                  <a:pt x="4580158" y="1014061"/>
                  <a:pt x="4610326" y="920592"/>
                </a:cubicBezTo>
                <a:cubicBezTo>
                  <a:pt x="4640493" y="827124"/>
                  <a:pt x="4685744" y="747008"/>
                  <a:pt x="4746077" y="680244"/>
                </a:cubicBezTo>
                <a:cubicBezTo>
                  <a:pt x="4806412" y="613481"/>
                  <a:pt x="4881830" y="561801"/>
                  <a:pt x="4972331" y="525205"/>
                </a:cubicBezTo>
                <a:cubicBezTo>
                  <a:pt x="5062832" y="488609"/>
                  <a:pt x="5168912" y="470311"/>
                  <a:pt x="5290570" y="470311"/>
                </a:cubicBezTo>
                <a:close/>
                <a:moveTo>
                  <a:pt x="861533" y="375358"/>
                </a:moveTo>
                <a:lnTo>
                  <a:pt x="590029" y="1191355"/>
                </a:lnTo>
                <a:lnTo>
                  <a:pt x="1134521" y="1191355"/>
                </a:lnTo>
                <a:lnTo>
                  <a:pt x="863017" y="375358"/>
                </a:lnTo>
                <a:close/>
                <a:moveTo>
                  <a:pt x="3865741" y="146879"/>
                </a:moveTo>
                <a:cubicBezTo>
                  <a:pt x="3902337" y="146879"/>
                  <a:pt x="3932751" y="148116"/>
                  <a:pt x="3956984" y="150588"/>
                </a:cubicBezTo>
                <a:cubicBezTo>
                  <a:pt x="3981216" y="153061"/>
                  <a:pt x="4000257" y="157017"/>
                  <a:pt x="4014104" y="162457"/>
                </a:cubicBezTo>
                <a:cubicBezTo>
                  <a:pt x="4027951" y="167897"/>
                  <a:pt x="4037842" y="174574"/>
                  <a:pt x="4043776" y="182486"/>
                </a:cubicBezTo>
                <a:cubicBezTo>
                  <a:pt x="4049711" y="190399"/>
                  <a:pt x="4052678" y="199301"/>
                  <a:pt x="4052678" y="209192"/>
                </a:cubicBezTo>
                <a:lnTo>
                  <a:pt x="4052678" y="504434"/>
                </a:lnTo>
                <a:lnTo>
                  <a:pt x="4340502" y="504434"/>
                </a:lnTo>
                <a:cubicBezTo>
                  <a:pt x="4350393" y="504434"/>
                  <a:pt x="4359048" y="506907"/>
                  <a:pt x="4366466" y="511852"/>
                </a:cubicBezTo>
                <a:cubicBezTo>
                  <a:pt x="4373884" y="516798"/>
                  <a:pt x="4380066" y="524958"/>
                  <a:pt x="4385011" y="536332"/>
                </a:cubicBezTo>
                <a:cubicBezTo>
                  <a:pt x="4389957" y="547707"/>
                  <a:pt x="4393666" y="563285"/>
                  <a:pt x="4396139" y="583066"/>
                </a:cubicBezTo>
                <a:cubicBezTo>
                  <a:pt x="4398611" y="602848"/>
                  <a:pt x="4399848" y="627081"/>
                  <a:pt x="4399848" y="655764"/>
                </a:cubicBezTo>
                <a:cubicBezTo>
                  <a:pt x="4399848" y="710164"/>
                  <a:pt x="4394902" y="748986"/>
                  <a:pt x="4385011" y="772229"/>
                </a:cubicBezTo>
                <a:cubicBezTo>
                  <a:pt x="4375120" y="795473"/>
                  <a:pt x="4360779" y="807095"/>
                  <a:pt x="4341986" y="807095"/>
                </a:cubicBezTo>
                <a:lnTo>
                  <a:pt x="4052678" y="807095"/>
                </a:lnTo>
                <a:lnTo>
                  <a:pt x="4052678" y="1428736"/>
                </a:lnTo>
                <a:cubicBezTo>
                  <a:pt x="4052678" y="1500939"/>
                  <a:pt x="4064053" y="1555092"/>
                  <a:pt x="4086802" y="1591193"/>
                </a:cubicBezTo>
                <a:cubicBezTo>
                  <a:pt x="4109551" y="1627295"/>
                  <a:pt x="4150103" y="1645346"/>
                  <a:pt x="4208459" y="1645346"/>
                </a:cubicBezTo>
                <a:cubicBezTo>
                  <a:pt x="4228241" y="1645346"/>
                  <a:pt x="4246045" y="1643615"/>
                  <a:pt x="4261870" y="1640153"/>
                </a:cubicBezTo>
                <a:cubicBezTo>
                  <a:pt x="4277696" y="1636691"/>
                  <a:pt x="4291790" y="1632735"/>
                  <a:pt x="4304153" y="1628284"/>
                </a:cubicBezTo>
                <a:cubicBezTo>
                  <a:pt x="4316517" y="1623833"/>
                  <a:pt x="4326902" y="1619877"/>
                  <a:pt x="4335310" y="1616415"/>
                </a:cubicBezTo>
                <a:cubicBezTo>
                  <a:pt x="4343717" y="1612953"/>
                  <a:pt x="4351382" y="1611222"/>
                  <a:pt x="4358306" y="1611222"/>
                </a:cubicBezTo>
                <a:cubicBezTo>
                  <a:pt x="4364241" y="1611222"/>
                  <a:pt x="4369928" y="1612953"/>
                  <a:pt x="4375368" y="1616415"/>
                </a:cubicBezTo>
                <a:cubicBezTo>
                  <a:pt x="4380808" y="1619877"/>
                  <a:pt x="4385011" y="1626800"/>
                  <a:pt x="4387979" y="1637186"/>
                </a:cubicBezTo>
                <a:cubicBezTo>
                  <a:pt x="4390946" y="1647571"/>
                  <a:pt x="4393666" y="1661666"/>
                  <a:pt x="4396139" y="1679469"/>
                </a:cubicBezTo>
                <a:cubicBezTo>
                  <a:pt x="4398611" y="1697273"/>
                  <a:pt x="4399848" y="1720022"/>
                  <a:pt x="4399848" y="1747716"/>
                </a:cubicBezTo>
                <a:cubicBezTo>
                  <a:pt x="4399848" y="1791236"/>
                  <a:pt x="4397128" y="1824618"/>
                  <a:pt x="4391688" y="1847861"/>
                </a:cubicBezTo>
                <a:cubicBezTo>
                  <a:pt x="4386248" y="1871105"/>
                  <a:pt x="4379077" y="1887425"/>
                  <a:pt x="4370175" y="1896821"/>
                </a:cubicBezTo>
                <a:cubicBezTo>
                  <a:pt x="4361273" y="1906217"/>
                  <a:pt x="4348168" y="1914625"/>
                  <a:pt x="4330859" y="1922043"/>
                </a:cubicBezTo>
                <a:cubicBezTo>
                  <a:pt x="4313550" y="1929461"/>
                  <a:pt x="4293274" y="1935890"/>
                  <a:pt x="4270030" y="1941330"/>
                </a:cubicBezTo>
                <a:cubicBezTo>
                  <a:pt x="4246786" y="1946770"/>
                  <a:pt x="4221565" y="1950973"/>
                  <a:pt x="4194365" y="1953941"/>
                </a:cubicBezTo>
                <a:cubicBezTo>
                  <a:pt x="4167165" y="1956908"/>
                  <a:pt x="4139718" y="1958392"/>
                  <a:pt x="4112023" y="1958392"/>
                </a:cubicBezTo>
                <a:cubicBezTo>
                  <a:pt x="4037842" y="1958392"/>
                  <a:pt x="3973551" y="1948995"/>
                  <a:pt x="3919151" y="1930203"/>
                </a:cubicBezTo>
                <a:cubicBezTo>
                  <a:pt x="3864751" y="1911410"/>
                  <a:pt x="3819748" y="1882479"/>
                  <a:pt x="3784141" y="1843410"/>
                </a:cubicBezTo>
                <a:cubicBezTo>
                  <a:pt x="3748534" y="1804341"/>
                  <a:pt x="3722323" y="1755134"/>
                  <a:pt x="3705509" y="1695789"/>
                </a:cubicBezTo>
                <a:cubicBezTo>
                  <a:pt x="3688694" y="1636444"/>
                  <a:pt x="3680287" y="1566219"/>
                  <a:pt x="3680287" y="1485114"/>
                </a:cubicBezTo>
                <a:lnTo>
                  <a:pt x="3680287" y="807095"/>
                </a:lnTo>
                <a:lnTo>
                  <a:pt x="3521538" y="807095"/>
                </a:lnTo>
                <a:cubicBezTo>
                  <a:pt x="3502746" y="807095"/>
                  <a:pt x="3488404" y="795473"/>
                  <a:pt x="3478513" y="772229"/>
                </a:cubicBezTo>
                <a:cubicBezTo>
                  <a:pt x="3468622" y="748986"/>
                  <a:pt x="3463677" y="710164"/>
                  <a:pt x="3463677" y="655764"/>
                </a:cubicBezTo>
                <a:cubicBezTo>
                  <a:pt x="3463677" y="627081"/>
                  <a:pt x="3464913" y="602848"/>
                  <a:pt x="3467386" y="583066"/>
                </a:cubicBezTo>
                <a:cubicBezTo>
                  <a:pt x="3469859" y="563285"/>
                  <a:pt x="3473568" y="547707"/>
                  <a:pt x="3478513" y="536332"/>
                </a:cubicBezTo>
                <a:cubicBezTo>
                  <a:pt x="3483458" y="524958"/>
                  <a:pt x="3489640" y="516798"/>
                  <a:pt x="3497058" y="511852"/>
                </a:cubicBezTo>
                <a:cubicBezTo>
                  <a:pt x="3504477" y="506907"/>
                  <a:pt x="3513131" y="504434"/>
                  <a:pt x="3523022" y="504434"/>
                </a:cubicBezTo>
                <a:lnTo>
                  <a:pt x="3680287" y="504434"/>
                </a:lnTo>
                <a:lnTo>
                  <a:pt x="3680287" y="209192"/>
                </a:lnTo>
                <a:cubicBezTo>
                  <a:pt x="3680287" y="199301"/>
                  <a:pt x="3683007" y="190399"/>
                  <a:pt x="3688447" y="182486"/>
                </a:cubicBezTo>
                <a:cubicBezTo>
                  <a:pt x="3693887" y="174574"/>
                  <a:pt x="3703778" y="167897"/>
                  <a:pt x="3718119" y="162457"/>
                </a:cubicBezTo>
                <a:cubicBezTo>
                  <a:pt x="3732461" y="157017"/>
                  <a:pt x="3751748" y="153061"/>
                  <a:pt x="3775981" y="150588"/>
                </a:cubicBezTo>
                <a:cubicBezTo>
                  <a:pt x="3800213" y="148116"/>
                  <a:pt x="3830133" y="146879"/>
                  <a:pt x="3865741" y="146879"/>
                </a:cubicBezTo>
                <a:close/>
                <a:moveTo>
                  <a:pt x="867468" y="0"/>
                </a:moveTo>
                <a:cubicBezTo>
                  <a:pt x="925824" y="0"/>
                  <a:pt x="972311" y="742"/>
                  <a:pt x="1006929" y="2225"/>
                </a:cubicBezTo>
                <a:cubicBezTo>
                  <a:pt x="1041547" y="3709"/>
                  <a:pt x="1068500" y="7171"/>
                  <a:pt x="1087787" y="12611"/>
                </a:cubicBezTo>
                <a:cubicBezTo>
                  <a:pt x="1107074" y="18050"/>
                  <a:pt x="1120921" y="26210"/>
                  <a:pt x="1129329" y="37090"/>
                </a:cubicBezTo>
                <a:cubicBezTo>
                  <a:pt x="1137736" y="47970"/>
                  <a:pt x="1144907" y="62807"/>
                  <a:pt x="1150841" y="81599"/>
                </a:cubicBezTo>
                <a:lnTo>
                  <a:pt x="1744293" y="1783323"/>
                </a:lnTo>
                <a:cubicBezTo>
                  <a:pt x="1756162" y="1818930"/>
                  <a:pt x="1763581" y="1847119"/>
                  <a:pt x="1766548" y="1867890"/>
                </a:cubicBezTo>
                <a:cubicBezTo>
                  <a:pt x="1769515" y="1888661"/>
                  <a:pt x="1765559" y="1904239"/>
                  <a:pt x="1754679" y="1914625"/>
                </a:cubicBezTo>
                <a:cubicBezTo>
                  <a:pt x="1743799" y="1925010"/>
                  <a:pt x="1724512" y="1931439"/>
                  <a:pt x="1696817" y="1933912"/>
                </a:cubicBezTo>
                <a:cubicBezTo>
                  <a:pt x="1669123" y="1936385"/>
                  <a:pt x="1631043" y="1937621"/>
                  <a:pt x="1582578" y="1937621"/>
                </a:cubicBezTo>
                <a:cubicBezTo>
                  <a:pt x="1532134" y="1937621"/>
                  <a:pt x="1492818" y="1936879"/>
                  <a:pt x="1464629" y="1935395"/>
                </a:cubicBezTo>
                <a:cubicBezTo>
                  <a:pt x="1436440" y="1933912"/>
                  <a:pt x="1414927" y="1930944"/>
                  <a:pt x="1400091" y="1926494"/>
                </a:cubicBezTo>
                <a:cubicBezTo>
                  <a:pt x="1385255" y="1922043"/>
                  <a:pt x="1374869" y="1915861"/>
                  <a:pt x="1368935" y="1907948"/>
                </a:cubicBezTo>
                <a:cubicBezTo>
                  <a:pt x="1363000" y="1900036"/>
                  <a:pt x="1358055" y="1889650"/>
                  <a:pt x="1354099" y="1876792"/>
                </a:cubicBezTo>
                <a:lnTo>
                  <a:pt x="1225023" y="1491048"/>
                </a:lnTo>
                <a:lnTo>
                  <a:pt x="503978" y="1491048"/>
                </a:lnTo>
                <a:lnTo>
                  <a:pt x="382321" y="1866407"/>
                </a:lnTo>
                <a:cubicBezTo>
                  <a:pt x="378364" y="1880254"/>
                  <a:pt x="373172" y="1891876"/>
                  <a:pt x="366743" y="1901272"/>
                </a:cubicBezTo>
                <a:cubicBezTo>
                  <a:pt x="360313" y="1910668"/>
                  <a:pt x="349928" y="1918087"/>
                  <a:pt x="335586" y="1923526"/>
                </a:cubicBezTo>
                <a:cubicBezTo>
                  <a:pt x="321244" y="1928966"/>
                  <a:pt x="300968" y="1932675"/>
                  <a:pt x="274757" y="1934654"/>
                </a:cubicBezTo>
                <a:cubicBezTo>
                  <a:pt x="248547" y="1936632"/>
                  <a:pt x="214176" y="1937621"/>
                  <a:pt x="171645" y="1937621"/>
                </a:cubicBezTo>
                <a:cubicBezTo>
                  <a:pt x="126147" y="1937621"/>
                  <a:pt x="90540" y="1936137"/>
                  <a:pt x="64824" y="1933170"/>
                </a:cubicBezTo>
                <a:cubicBezTo>
                  <a:pt x="39107" y="1930203"/>
                  <a:pt x="21304" y="1923032"/>
                  <a:pt x="11413" y="1911657"/>
                </a:cubicBezTo>
                <a:cubicBezTo>
                  <a:pt x="1522" y="1900283"/>
                  <a:pt x="-1940" y="1884210"/>
                  <a:pt x="1028" y="1863439"/>
                </a:cubicBezTo>
                <a:cubicBezTo>
                  <a:pt x="3995" y="1842668"/>
                  <a:pt x="11413" y="1814974"/>
                  <a:pt x="23282" y="1780356"/>
                </a:cubicBezTo>
                <a:lnTo>
                  <a:pt x="615251" y="77148"/>
                </a:lnTo>
                <a:cubicBezTo>
                  <a:pt x="621185" y="60334"/>
                  <a:pt x="628109" y="46734"/>
                  <a:pt x="636021" y="36349"/>
                </a:cubicBezTo>
                <a:cubicBezTo>
                  <a:pt x="643934" y="25963"/>
                  <a:pt x="656545" y="18050"/>
                  <a:pt x="673854" y="12611"/>
                </a:cubicBezTo>
                <a:cubicBezTo>
                  <a:pt x="691163" y="7171"/>
                  <a:pt x="715148" y="3709"/>
                  <a:pt x="745810" y="2225"/>
                </a:cubicBezTo>
                <a:cubicBezTo>
                  <a:pt x="776472" y="742"/>
                  <a:pt x="817024" y="0"/>
                  <a:pt x="867468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900" b="1" dirty="0"/>
          </a:p>
        </p:txBody>
      </p:sp>
    </p:spTree>
    <p:extLst>
      <p:ext uri="{BB962C8B-B14F-4D97-AF65-F5344CB8AC3E}">
        <p14:creationId xmlns:p14="http://schemas.microsoft.com/office/powerpoint/2010/main" val="34028764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70457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0506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2955711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4515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5679583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4792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269656" y="244696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2821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3637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5347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824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ingekerbter Richtungspfeil 14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909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036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2617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899040" y="5869530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821443" y="3980534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899040" y="3980534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821443" y="5869530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3" name="Rechteck 12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4" name="Rechteck 13"/>
          <p:cNvSpPr/>
          <p:nvPr/>
        </p:nvSpPr>
        <p:spPr>
          <a:xfrm>
            <a:off x="3825153" y="3884660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2" name="Rechteckiger Pfeil 11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9840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3756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41391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8299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3577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7832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86620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69656" y="567958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3981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8881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747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0749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254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529583" y="5711264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652423" y="3621831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529583" y="3621831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652423" y="5711264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3455930" y="3535821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77" name="Rechteckiger Pfeil 76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003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-2709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22827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43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7733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149013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3714434" y="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149013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3714434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-4741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-4741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522827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522827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6467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107659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107659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412422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412422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ultiplizieren 12"/>
          <p:cNvSpPr/>
          <p:nvPr/>
        </p:nvSpPr>
        <p:spPr>
          <a:xfrm>
            <a:off x="5228273" y="107658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Multiplizieren 13"/>
          <p:cNvSpPr/>
          <p:nvPr/>
        </p:nvSpPr>
        <p:spPr>
          <a:xfrm>
            <a:off x="-27093" y="107658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Multiplizieren 14"/>
          <p:cNvSpPr/>
          <p:nvPr/>
        </p:nvSpPr>
        <p:spPr>
          <a:xfrm>
            <a:off x="5228273" y="401021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ultiplizieren 15"/>
          <p:cNvSpPr/>
          <p:nvPr/>
        </p:nvSpPr>
        <p:spPr>
          <a:xfrm>
            <a:off x="-27093" y="401021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3090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1277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 rot="3951977">
            <a:off x="-450183" y="1385483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4143061">
            <a:off x="5268541" y="2425781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022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3171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404192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709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132783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588658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1506310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39177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27140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6978268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99615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39893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feil nach links und rechts 14"/>
          <p:cNvSpPr/>
          <p:nvPr/>
        </p:nvSpPr>
        <p:spPr>
          <a:xfrm rot="18913872">
            <a:off x="1628102" y="2817013"/>
            <a:ext cx="4121931" cy="1484242"/>
          </a:xfrm>
          <a:prstGeom prst="leftRightArrow">
            <a:avLst>
              <a:gd name="adj1" fmla="val 38219"/>
              <a:gd name="adj2" fmla="val 57795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61187" y="4707657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4798494" y="39215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3976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484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uppieren 45"/>
          <p:cNvGrpSpPr/>
          <p:nvPr/>
        </p:nvGrpSpPr>
        <p:grpSpPr>
          <a:xfrm>
            <a:off x="206189" y="206194"/>
            <a:ext cx="6786930" cy="6786926"/>
            <a:chOff x="600956" y="600962"/>
            <a:chExt cx="5997395" cy="5997390"/>
          </a:xfrm>
        </p:grpSpPr>
        <p:sp>
          <p:nvSpPr>
            <p:cNvPr id="7" name="Rechteck 6"/>
            <p:cNvSpPr/>
            <p:nvPr/>
          </p:nvSpPr>
          <p:spPr>
            <a:xfrm>
              <a:off x="60095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60052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60008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359965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59921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559878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60095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60095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60095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0095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60095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60052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60052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60052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60052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60052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260008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260008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60008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60008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60008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359965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359965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359965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359965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359965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59921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59921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59921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59921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59921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559878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559878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559878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559878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59878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htwinkliges Dreieck 44"/>
            <p:cNvSpPr/>
            <p:nvPr/>
          </p:nvSpPr>
          <p:spPr>
            <a:xfrm rot="5400000">
              <a:off x="600956" y="616651"/>
              <a:ext cx="5981700" cy="59817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" name="Rechteck 3"/>
            <p:cNvSpPr/>
            <p:nvPr/>
          </p:nvSpPr>
          <p:spPr>
            <a:xfrm>
              <a:off x="600962" y="600962"/>
              <a:ext cx="5997389" cy="5997389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960088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17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ihandform 15"/>
          <p:cNvSpPr/>
          <p:nvPr/>
        </p:nvSpPr>
        <p:spPr>
          <a:xfrm>
            <a:off x="1118910" y="2352262"/>
            <a:ext cx="4887367" cy="3497150"/>
          </a:xfrm>
          <a:custGeom>
            <a:avLst/>
            <a:gdLst>
              <a:gd name="connsiteX0" fmla="*/ 317440 w 5302035"/>
              <a:gd name="connsiteY0" fmla="*/ 2300324 h 3797083"/>
              <a:gd name="connsiteX1" fmla="*/ 2855232 w 5302035"/>
              <a:gd name="connsiteY1" fmla="*/ 14324 h 3797083"/>
              <a:gd name="connsiteX2" fmla="*/ 5253875 w 5302035"/>
              <a:gd name="connsiteY2" fmla="*/ 3486393 h 3797083"/>
              <a:gd name="connsiteX3" fmla="*/ 582484 w 5302035"/>
              <a:gd name="connsiteY3" fmla="*/ 3493019 h 3797083"/>
              <a:gd name="connsiteX4" fmla="*/ 317440 w 5302035"/>
              <a:gd name="connsiteY4" fmla="*/ 2300324 h 3797083"/>
              <a:gd name="connsiteX0" fmla="*/ 315852 w 5254906"/>
              <a:gd name="connsiteY0" fmla="*/ 2301065 h 3820355"/>
              <a:gd name="connsiteX1" fmla="*/ 2853644 w 5254906"/>
              <a:gd name="connsiteY1" fmla="*/ 15065 h 3820355"/>
              <a:gd name="connsiteX2" fmla="*/ 5205905 w 5254906"/>
              <a:gd name="connsiteY2" fmla="*/ 3520264 h 3820355"/>
              <a:gd name="connsiteX3" fmla="*/ 580896 w 5254906"/>
              <a:gd name="connsiteY3" fmla="*/ 3493760 h 3820355"/>
              <a:gd name="connsiteX4" fmla="*/ 315852 w 5254906"/>
              <a:gd name="connsiteY4" fmla="*/ 2301065 h 3820355"/>
              <a:gd name="connsiteX0" fmla="*/ 315852 w 5254906"/>
              <a:gd name="connsiteY0" fmla="*/ 2301065 h 3601367"/>
              <a:gd name="connsiteX1" fmla="*/ 2853644 w 5254906"/>
              <a:gd name="connsiteY1" fmla="*/ 15065 h 3601367"/>
              <a:gd name="connsiteX2" fmla="*/ 5205905 w 5254906"/>
              <a:gd name="connsiteY2" fmla="*/ 3520264 h 3601367"/>
              <a:gd name="connsiteX3" fmla="*/ 580896 w 5254906"/>
              <a:gd name="connsiteY3" fmla="*/ 3493760 h 3601367"/>
              <a:gd name="connsiteX4" fmla="*/ 315852 w 5254906"/>
              <a:gd name="connsiteY4" fmla="*/ 2301065 h 3601367"/>
              <a:gd name="connsiteX0" fmla="*/ 52813 w 4726823"/>
              <a:gd name="connsiteY0" fmla="*/ 3478701 h 3754076"/>
              <a:gd name="connsiteX1" fmla="*/ 2325561 w 4726823"/>
              <a:gd name="connsiteY1" fmla="*/ 6 h 3754076"/>
              <a:gd name="connsiteX2" fmla="*/ 4677822 w 4726823"/>
              <a:gd name="connsiteY2" fmla="*/ 3505205 h 3754076"/>
              <a:gd name="connsiteX3" fmla="*/ 52813 w 4726823"/>
              <a:gd name="connsiteY3" fmla="*/ 3478701 h 3754076"/>
              <a:gd name="connsiteX0" fmla="*/ 75762 w 3944486"/>
              <a:gd name="connsiteY0" fmla="*/ 3154978 h 3567188"/>
              <a:gd name="connsiteX1" fmla="*/ 1546754 w 3944486"/>
              <a:gd name="connsiteY1" fmla="*/ 962 h 3567188"/>
              <a:gd name="connsiteX2" fmla="*/ 3899015 w 3944486"/>
              <a:gd name="connsiteY2" fmla="*/ 3506161 h 3567188"/>
              <a:gd name="connsiteX3" fmla="*/ 75762 w 3944486"/>
              <a:gd name="connsiteY3" fmla="*/ 3154978 h 3567188"/>
              <a:gd name="connsiteX0" fmla="*/ 47769 w 5000123"/>
              <a:gd name="connsiteY0" fmla="*/ 3445590 h 3730845"/>
              <a:gd name="connsiteX1" fmla="*/ 2598813 w 5000123"/>
              <a:gd name="connsiteY1" fmla="*/ 26 h 3730845"/>
              <a:gd name="connsiteX2" fmla="*/ 4951074 w 5000123"/>
              <a:gd name="connsiteY2" fmla="*/ 3505225 h 3730845"/>
              <a:gd name="connsiteX3" fmla="*/ 47769 w 5000123"/>
              <a:gd name="connsiteY3" fmla="*/ 3445590 h 3730845"/>
              <a:gd name="connsiteX0" fmla="*/ 127602 w 5079956"/>
              <a:gd name="connsiteY0" fmla="*/ 3445594 h 3933115"/>
              <a:gd name="connsiteX1" fmla="*/ 2678646 w 5079956"/>
              <a:gd name="connsiteY1" fmla="*/ 30 h 3933115"/>
              <a:gd name="connsiteX2" fmla="*/ 5030907 w 5079956"/>
              <a:gd name="connsiteY2" fmla="*/ 3505229 h 3933115"/>
              <a:gd name="connsiteX3" fmla="*/ 127602 w 5079956"/>
              <a:gd name="connsiteY3" fmla="*/ 3445594 h 3933115"/>
              <a:gd name="connsiteX0" fmla="*/ 1 w 4952355"/>
              <a:gd name="connsiteY0" fmla="*/ 3445586 h 3514496"/>
              <a:gd name="connsiteX1" fmla="*/ 2551045 w 4952355"/>
              <a:gd name="connsiteY1" fmla="*/ 22 h 3514496"/>
              <a:gd name="connsiteX2" fmla="*/ 4903306 w 4952355"/>
              <a:gd name="connsiteY2" fmla="*/ 3505221 h 3514496"/>
              <a:gd name="connsiteX3" fmla="*/ 1 w 4952355"/>
              <a:gd name="connsiteY3" fmla="*/ 3445586 h 3514496"/>
              <a:gd name="connsiteX0" fmla="*/ 18390 w 4995033"/>
              <a:gd name="connsiteY0" fmla="*/ 3366078 h 3645494"/>
              <a:gd name="connsiteX1" fmla="*/ 3311556 w 4995033"/>
              <a:gd name="connsiteY1" fmla="*/ 27 h 3645494"/>
              <a:gd name="connsiteX2" fmla="*/ 4921695 w 4995033"/>
              <a:gd name="connsiteY2" fmla="*/ 3425713 h 3645494"/>
              <a:gd name="connsiteX3" fmla="*/ 18390 w 4995033"/>
              <a:gd name="connsiteY3" fmla="*/ 3366078 h 3645494"/>
              <a:gd name="connsiteX0" fmla="*/ 17139 w 4984847"/>
              <a:gd name="connsiteY0" fmla="*/ 3441272 h 3720688"/>
              <a:gd name="connsiteX1" fmla="*/ 3310305 w 4984847"/>
              <a:gd name="connsiteY1" fmla="*/ 75221 h 3720688"/>
              <a:gd name="connsiteX2" fmla="*/ 4920444 w 4984847"/>
              <a:gd name="connsiteY2" fmla="*/ 3500907 h 3720688"/>
              <a:gd name="connsiteX3" fmla="*/ 17139 w 4984847"/>
              <a:gd name="connsiteY3" fmla="*/ 3441272 h 3720688"/>
              <a:gd name="connsiteX0" fmla="*/ 20087 w 4696332"/>
              <a:gd name="connsiteY0" fmla="*/ 3445567 h 3702280"/>
              <a:gd name="connsiteX1" fmla="*/ 3015079 w 4696332"/>
              <a:gd name="connsiteY1" fmla="*/ 3 h 3702280"/>
              <a:gd name="connsiteX2" fmla="*/ 4625218 w 4696332"/>
              <a:gd name="connsiteY2" fmla="*/ 3425689 h 3702280"/>
              <a:gd name="connsiteX3" fmla="*/ 20087 w 4696332"/>
              <a:gd name="connsiteY3" fmla="*/ 3445567 h 3702280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32 w 4844049"/>
              <a:gd name="connsiteY0" fmla="*/ 3465453 h 3502242"/>
              <a:gd name="connsiteX1" fmla="*/ 3161576 w 4844049"/>
              <a:gd name="connsiteY1" fmla="*/ 11 h 3502242"/>
              <a:gd name="connsiteX2" fmla="*/ 4771715 w 4844049"/>
              <a:gd name="connsiteY2" fmla="*/ 3425697 h 3502242"/>
              <a:gd name="connsiteX3" fmla="*/ 932 w 4844049"/>
              <a:gd name="connsiteY3" fmla="*/ 3465453 h 3502242"/>
              <a:gd name="connsiteX0" fmla="*/ 900 w 4930156"/>
              <a:gd name="connsiteY0" fmla="*/ 3458827 h 3497161"/>
              <a:gd name="connsiteX1" fmla="*/ 3247683 w 4930156"/>
              <a:gd name="connsiteY1" fmla="*/ 11 h 3497161"/>
              <a:gd name="connsiteX2" fmla="*/ 4857822 w 4930156"/>
              <a:gd name="connsiteY2" fmla="*/ 3425697 h 3497161"/>
              <a:gd name="connsiteX3" fmla="*/ 900 w 4930156"/>
              <a:gd name="connsiteY3" fmla="*/ 3458827 h 3497161"/>
              <a:gd name="connsiteX0" fmla="*/ 900 w 4921200"/>
              <a:gd name="connsiteY0" fmla="*/ 3458816 h 3497150"/>
              <a:gd name="connsiteX1" fmla="*/ 3247683 w 4921200"/>
              <a:gd name="connsiteY1" fmla="*/ 0 h 3497150"/>
              <a:gd name="connsiteX2" fmla="*/ 4857822 w 4921200"/>
              <a:gd name="connsiteY2" fmla="*/ 3425686 h 3497150"/>
              <a:gd name="connsiteX3" fmla="*/ 900 w 4921200"/>
              <a:gd name="connsiteY3" fmla="*/ 3458816 h 3497150"/>
              <a:gd name="connsiteX0" fmla="*/ 900 w 4875764"/>
              <a:gd name="connsiteY0" fmla="*/ 3458816 h 3497150"/>
              <a:gd name="connsiteX1" fmla="*/ 3247683 w 4875764"/>
              <a:gd name="connsiteY1" fmla="*/ 0 h 3497150"/>
              <a:gd name="connsiteX2" fmla="*/ 4857822 w 4875764"/>
              <a:gd name="connsiteY2" fmla="*/ 3425686 h 3497150"/>
              <a:gd name="connsiteX3" fmla="*/ 900 w 4875764"/>
              <a:gd name="connsiteY3" fmla="*/ 3458816 h 3497150"/>
              <a:gd name="connsiteX0" fmla="*/ 900 w 4887367"/>
              <a:gd name="connsiteY0" fmla="*/ 3458816 h 3497150"/>
              <a:gd name="connsiteX1" fmla="*/ 3247683 w 4887367"/>
              <a:gd name="connsiteY1" fmla="*/ 0 h 3497150"/>
              <a:gd name="connsiteX2" fmla="*/ 4857822 w 4887367"/>
              <a:gd name="connsiteY2" fmla="*/ 3425686 h 3497150"/>
              <a:gd name="connsiteX3" fmla="*/ 900 w 4887367"/>
              <a:gd name="connsiteY3" fmla="*/ 3458816 h 349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367" h="3497150">
                <a:moveTo>
                  <a:pt x="900" y="3458816"/>
                </a:moveTo>
                <a:cubicBezTo>
                  <a:pt x="-55421" y="3371572"/>
                  <a:pt x="2545319" y="708991"/>
                  <a:pt x="3247683" y="0"/>
                </a:cubicBezTo>
                <a:cubicBezTo>
                  <a:pt x="3817526" y="33130"/>
                  <a:pt x="5097465" y="2461592"/>
                  <a:pt x="4857822" y="3425686"/>
                </a:cubicBezTo>
                <a:cubicBezTo>
                  <a:pt x="3213449" y="3462129"/>
                  <a:pt x="57221" y="3546060"/>
                  <a:pt x="900" y="34588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Gerader Verbinder 4"/>
          <p:cNvCxnSpPr/>
          <p:nvPr/>
        </p:nvCxnSpPr>
        <p:spPr>
          <a:xfrm flipH="1">
            <a:off x="1005912" y="1345096"/>
            <a:ext cx="4274016" cy="4458325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/>
        </p:nvCxnSpPr>
        <p:spPr>
          <a:xfrm flipH="1">
            <a:off x="894523" y="5803421"/>
            <a:ext cx="5652051" cy="0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ultiplizieren 8"/>
          <p:cNvSpPr/>
          <p:nvPr/>
        </p:nvSpPr>
        <p:spPr>
          <a:xfrm>
            <a:off x="4270702" y="40316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Bogen 12"/>
          <p:cNvSpPr>
            <a:spLocks noChangeAspect="1"/>
          </p:cNvSpPr>
          <p:nvPr/>
        </p:nvSpPr>
        <p:spPr>
          <a:xfrm>
            <a:off x="-3233530" y="1186150"/>
            <a:ext cx="9234542" cy="9234542"/>
          </a:xfrm>
          <a:prstGeom prst="arc">
            <a:avLst>
              <a:gd name="adj1" fmla="val 18633179"/>
              <a:gd name="adj2" fmla="val 0"/>
            </a:avLst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-3314" y="4794195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711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26504" y="1192696"/>
            <a:ext cx="7070034" cy="4813920"/>
            <a:chOff x="26504" y="1431234"/>
            <a:chExt cx="7070034" cy="3962400"/>
          </a:xfrm>
          <a:solidFill>
            <a:schemeClr val="accent1">
              <a:lumMod val="75000"/>
            </a:schemeClr>
          </a:solidFill>
        </p:grpSpPr>
        <p:sp>
          <p:nvSpPr>
            <p:cNvPr id="4" name="Richtungspfeil 3"/>
            <p:cNvSpPr/>
            <p:nvPr/>
          </p:nvSpPr>
          <p:spPr>
            <a:xfrm>
              <a:off x="26504" y="1431234"/>
              <a:ext cx="3041374" cy="3962400"/>
            </a:xfrm>
            <a:prstGeom prst="homePlate">
              <a:avLst>
                <a:gd name="adj" fmla="val 5326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ingekerbter Richtungspfeil 4"/>
            <p:cNvSpPr/>
            <p:nvPr/>
          </p:nvSpPr>
          <p:spPr>
            <a:xfrm>
              <a:off x="3067878" y="1431234"/>
              <a:ext cx="4028660" cy="3962400"/>
            </a:xfrm>
            <a:prstGeom prst="chevron">
              <a:avLst>
                <a:gd name="adj" fmla="val 4021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007046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25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467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59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67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959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1869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71318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163155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5" name="Pfeil nach rechts 14"/>
          <p:cNvSpPr/>
          <p:nvPr/>
        </p:nvSpPr>
        <p:spPr>
          <a:xfrm>
            <a:off x="3986010" y="2857535"/>
            <a:ext cx="3156637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09161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423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163977" y="154090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416783" y="154091"/>
            <a:ext cx="2252806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4669588" y="154091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163978" y="151323"/>
            <a:ext cx="6758416" cy="1014215"/>
          </a:xfrm>
          <a:prstGeom prst="rect">
            <a:avLst/>
          </a:prstGeom>
          <a:solidFill>
            <a:schemeClr val="tx1">
              <a:lumMod val="85000"/>
              <a:lumOff val="15000"/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16"/>
          <p:cNvGrpSpPr/>
          <p:nvPr/>
        </p:nvGrpSpPr>
        <p:grpSpPr>
          <a:xfrm>
            <a:off x="163978" y="1162512"/>
            <a:ext cx="6758416" cy="5882709"/>
            <a:chOff x="163978" y="1162512"/>
            <a:chExt cx="6758416" cy="6439048"/>
          </a:xfrm>
        </p:grpSpPr>
        <p:sp>
          <p:nvSpPr>
            <p:cNvPr id="7" name="Rechteck 6"/>
            <p:cNvSpPr>
              <a:spLocks/>
            </p:cNvSpPr>
            <p:nvPr/>
          </p:nvSpPr>
          <p:spPr>
            <a:xfrm>
              <a:off x="163978" y="116251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163978" y="3309870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163978" y="545420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Ellipse 9"/>
          <p:cNvSpPr/>
          <p:nvPr/>
        </p:nvSpPr>
        <p:spPr>
          <a:xfrm>
            <a:off x="3053788" y="16540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3053788" y="557491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3053788" y="361282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Gerader Verbinder 18"/>
          <p:cNvCxnSpPr/>
          <p:nvPr/>
        </p:nvCxnSpPr>
        <p:spPr>
          <a:xfrm>
            <a:off x="2416783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669588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49584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83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Gruppieren 39"/>
          <p:cNvGrpSpPr/>
          <p:nvPr/>
        </p:nvGrpSpPr>
        <p:grpSpPr>
          <a:xfrm>
            <a:off x="734097" y="491790"/>
            <a:ext cx="6195560" cy="2178676"/>
            <a:chOff x="1171977" y="491790"/>
            <a:chExt cx="5757679" cy="2178676"/>
          </a:xfrm>
        </p:grpSpPr>
        <p:sp>
          <p:nvSpPr>
            <p:cNvPr id="5" name="Rechteck 4"/>
            <p:cNvSpPr>
              <a:spLocks/>
            </p:cNvSpPr>
            <p:nvPr/>
          </p:nvSpPr>
          <p:spPr>
            <a:xfrm>
              <a:off x="2041302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>
              <a:spLocks/>
            </p:cNvSpPr>
            <p:nvPr/>
          </p:nvSpPr>
          <p:spPr>
            <a:xfrm>
              <a:off x="3478666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>
              <a:spLocks/>
            </p:cNvSpPr>
            <p:nvPr/>
          </p:nvSpPr>
          <p:spPr>
            <a:xfrm>
              <a:off x="4916030" y="491790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>
              <a:spLocks/>
            </p:cNvSpPr>
            <p:nvPr/>
          </p:nvSpPr>
          <p:spPr>
            <a:xfrm>
              <a:off x="3338446" y="1653128"/>
              <a:ext cx="1560131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>
              <a:spLocks/>
            </p:cNvSpPr>
            <p:nvPr/>
          </p:nvSpPr>
          <p:spPr>
            <a:xfrm>
              <a:off x="2041302" y="1072459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>
              <a:spLocks/>
            </p:cNvSpPr>
            <p:nvPr/>
          </p:nvSpPr>
          <p:spPr>
            <a:xfrm>
              <a:off x="5925366" y="1072459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>
              <a:spLocks/>
            </p:cNvSpPr>
            <p:nvPr/>
          </p:nvSpPr>
          <p:spPr>
            <a:xfrm>
              <a:off x="1171977" y="1653128"/>
              <a:ext cx="1846266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>
              <a:spLocks/>
            </p:cNvSpPr>
            <p:nvPr/>
          </p:nvSpPr>
          <p:spPr>
            <a:xfrm>
              <a:off x="5218779" y="1653128"/>
              <a:ext cx="171087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1171977" y="2233797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4304417" y="2233797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669535" y="3426466"/>
            <a:ext cx="5260121" cy="1017338"/>
            <a:chOff x="2041302" y="3067565"/>
            <a:chExt cx="4888354" cy="1017338"/>
          </a:xfrm>
        </p:grpSpPr>
        <p:sp>
          <p:nvSpPr>
            <p:cNvPr id="17" name="Rechteck 16"/>
            <p:cNvSpPr>
              <a:spLocks/>
            </p:cNvSpPr>
            <p:nvPr/>
          </p:nvSpPr>
          <p:spPr>
            <a:xfrm>
              <a:off x="2041302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>
              <a:spLocks/>
            </p:cNvSpPr>
            <p:nvPr/>
          </p:nvSpPr>
          <p:spPr>
            <a:xfrm>
              <a:off x="3478666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>
              <a:spLocks/>
            </p:cNvSpPr>
            <p:nvPr/>
          </p:nvSpPr>
          <p:spPr>
            <a:xfrm>
              <a:off x="4916030" y="306756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2041302" y="3648234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5925366" y="3648234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734097" y="5199804"/>
            <a:ext cx="6195560" cy="1598007"/>
            <a:chOff x="1171977" y="4774015"/>
            <a:chExt cx="5757679" cy="1598007"/>
          </a:xfrm>
        </p:grpSpPr>
        <p:sp>
          <p:nvSpPr>
            <p:cNvPr id="27" name="Rechteck 26"/>
            <p:cNvSpPr>
              <a:spLocks/>
            </p:cNvSpPr>
            <p:nvPr/>
          </p:nvSpPr>
          <p:spPr>
            <a:xfrm>
              <a:off x="2041302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3478666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4916030" y="477401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80666" y="5354684"/>
              <a:ext cx="1324574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2041302" y="5354684"/>
              <a:ext cx="156750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477096" y="5354684"/>
              <a:ext cx="145256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>
              <a:spLocks/>
            </p:cNvSpPr>
            <p:nvPr/>
          </p:nvSpPr>
          <p:spPr>
            <a:xfrm>
              <a:off x="1171977" y="5935353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>
              <a:spLocks/>
            </p:cNvSpPr>
            <p:nvPr/>
          </p:nvSpPr>
          <p:spPr>
            <a:xfrm>
              <a:off x="4304417" y="5935353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" name="Ellipse 40"/>
          <p:cNvSpPr/>
          <p:nvPr/>
        </p:nvSpPr>
        <p:spPr>
          <a:xfrm>
            <a:off x="332858" y="2207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Ellipse 41"/>
          <p:cNvSpPr/>
          <p:nvPr/>
        </p:nvSpPr>
        <p:spPr>
          <a:xfrm>
            <a:off x="332858" y="3155403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Ellipse 42"/>
          <p:cNvSpPr/>
          <p:nvPr/>
        </p:nvSpPr>
        <p:spPr>
          <a:xfrm>
            <a:off x="332858" y="492874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03923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llipse 1"/>
          <p:cNvSpPr/>
          <p:nvPr/>
        </p:nvSpPr>
        <p:spPr>
          <a:xfrm>
            <a:off x="1475711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4767250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1475711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4767250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9856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94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631" imgH="631" progId="TCLayout.ActiveDocument.1">
                  <p:embed/>
                </p:oleObj>
              </mc:Choice>
              <mc:Fallback>
                <p:oleObj name="think-cell Folie" r:id="rId6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8"/>
          <a:srcRect/>
          <a:stretch/>
        </p:blipFill>
        <p:spPr>
          <a:xfrm>
            <a:off x="64390" y="64390"/>
            <a:ext cx="353218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/>
          <a:stretch/>
        </p:blipFill>
        <p:spPr>
          <a:xfrm>
            <a:off x="1783213" y="1799180"/>
            <a:ext cx="361096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0"/>
          <a:srcRect/>
          <a:stretch/>
        </p:blipFill>
        <p:spPr>
          <a:xfrm>
            <a:off x="3574378" y="3533970"/>
            <a:ext cx="3554106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5731950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671445" cy="6776637"/>
            <a:chOff x="256405" y="221063"/>
            <a:chExt cx="3388560" cy="3158413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41619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64187" y="995764"/>
              <a:ext cx="704778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7470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41108"/>
              <a:ext cx="1608928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934733" y="221063"/>
              <a:ext cx="704778" cy="146277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306865" y="2748257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33452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88" progId="TCLayout.ActiveDocument.1">
                  <p:embed/>
                </p:oleObj>
              </mc:Choice>
              <mc:Fallback>
                <p:oleObj name="think-cell Folie" r:id="rId3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ositionsrahmen 45"/>
          <p:cNvSpPr/>
          <p:nvPr/>
        </p:nvSpPr>
        <p:spPr>
          <a:xfrm>
            <a:off x="206196" y="206194"/>
            <a:ext cx="6786923" cy="6786925"/>
          </a:xfrm>
          <a:prstGeom prst="frame">
            <a:avLst>
              <a:gd name="adj1" fmla="val 13791"/>
            </a:avLst>
          </a:prstGeom>
          <a:solidFill>
            <a:schemeClr val="tx1"/>
          </a:solidFill>
          <a:ln w="1143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206195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6057119" y="20619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Rechteck 53"/>
          <p:cNvSpPr/>
          <p:nvPr/>
        </p:nvSpPr>
        <p:spPr>
          <a:xfrm>
            <a:off x="6057119" y="1337348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hteck 54"/>
          <p:cNvSpPr/>
          <p:nvPr/>
        </p:nvSpPr>
        <p:spPr>
          <a:xfrm>
            <a:off x="6057119" y="2468502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Rechteck 55"/>
          <p:cNvSpPr/>
          <p:nvPr/>
        </p:nvSpPr>
        <p:spPr>
          <a:xfrm>
            <a:off x="6057119" y="3599656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Rechteck 56"/>
          <p:cNvSpPr/>
          <p:nvPr/>
        </p:nvSpPr>
        <p:spPr>
          <a:xfrm>
            <a:off x="6057119" y="4730810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Rechteck 57"/>
          <p:cNvSpPr/>
          <p:nvPr/>
        </p:nvSpPr>
        <p:spPr>
          <a:xfrm>
            <a:off x="6057119" y="586196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/>
          <p:cNvSpPr/>
          <p:nvPr/>
        </p:nvSpPr>
        <p:spPr>
          <a:xfrm>
            <a:off x="1337349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Rechteck 59"/>
          <p:cNvSpPr/>
          <p:nvPr/>
        </p:nvSpPr>
        <p:spPr>
          <a:xfrm>
            <a:off x="2468503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Rechteck 60"/>
          <p:cNvSpPr/>
          <p:nvPr/>
        </p:nvSpPr>
        <p:spPr>
          <a:xfrm>
            <a:off x="3599657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Rechteck 61"/>
          <p:cNvSpPr/>
          <p:nvPr/>
        </p:nvSpPr>
        <p:spPr>
          <a:xfrm>
            <a:off x="4730811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Rechteck 62"/>
          <p:cNvSpPr/>
          <p:nvPr/>
        </p:nvSpPr>
        <p:spPr>
          <a:xfrm>
            <a:off x="5861965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winkliges Dreieck 5"/>
          <p:cNvSpPr/>
          <p:nvPr/>
        </p:nvSpPr>
        <p:spPr>
          <a:xfrm rot="5400000">
            <a:off x="206194" y="6057119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winkliges Dreieck 63"/>
          <p:cNvSpPr/>
          <p:nvPr/>
        </p:nvSpPr>
        <p:spPr>
          <a:xfrm rot="5400000">
            <a:off x="6057119" y="206193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191379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577347" cy="6620681"/>
            <a:chOff x="256405" y="221063"/>
            <a:chExt cx="3340766" cy="3085726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21063"/>
              <a:ext cx="1600200" cy="687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45333" y="995764"/>
              <a:ext cx="761732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5729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11514"/>
              <a:ext cx="1608928" cy="72426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870265" y="221063"/>
              <a:ext cx="726906" cy="15621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256405" y="2774894"/>
              <a:ext cx="165066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774894"/>
              <a:ext cx="75729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774894"/>
              <a:ext cx="726906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675692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07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0" y="0"/>
            <a:ext cx="7199313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2700000">
            <a:off x="695503" y="4873803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2700000">
            <a:off x="4666563" y="84624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2700000">
            <a:off x="2594561" y="2918809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329735" y="262244"/>
            <a:ext cx="2429385" cy="2441102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527730" y="4636497"/>
            <a:ext cx="2425309" cy="236020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366460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-1" y="3599656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5400000">
            <a:off x="-120623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5400000">
            <a:off x="5060560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5400000">
            <a:off x="2469967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1053235" y="232523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057507" y="5054359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619178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rot="16200000" flipV="1">
            <a:off x="33246" y="3599655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>
            <a:off x="2462979" y="544451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>
            <a:off x="2462978" y="263332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>
            <a:off x="2462979" y="285392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 rot="16200000">
            <a:off x="-1326049" y="2645054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 rot="16200000">
            <a:off x="3468426" y="2676687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729721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5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26221" y="426221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hteck 8"/>
          <p:cNvSpPr/>
          <p:nvPr/>
        </p:nvSpPr>
        <p:spPr>
          <a:xfrm>
            <a:off x="3944983" y="2978330"/>
            <a:ext cx="966651" cy="122790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>
            <a:off x="4289171" y="2857535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60313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94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 rot="5400000">
            <a:off x="1503906" y="-651464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8" name="Rectangle 8"/>
          <p:cNvSpPr>
            <a:spLocks/>
          </p:cNvSpPr>
          <p:nvPr/>
        </p:nvSpPr>
        <p:spPr>
          <a:xfrm>
            <a:off x="2985701" y="4036422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 rot="5400000">
            <a:off x="2404784" y="4741923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6204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46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461304" y="383767"/>
            <a:ext cx="3623265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ight Arrow 14"/>
          <p:cNvSpPr/>
          <p:nvPr/>
        </p:nvSpPr>
        <p:spPr>
          <a:xfrm rot="16200000" flipH="1">
            <a:off x="4251541" y="4174003"/>
            <a:ext cx="2563583" cy="2549683"/>
          </a:xfrm>
          <a:prstGeom prst="bentUp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4"/>
          <p:cNvSpPr>
            <a:spLocks/>
          </p:cNvSpPr>
          <p:nvPr/>
        </p:nvSpPr>
        <p:spPr>
          <a:xfrm>
            <a:off x="461304" y="383767"/>
            <a:ext cx="6346870" cy="3623265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</p:spTree>
    <p:extLst>
      <p:ext uri="{BB962C8B-B14F-4D97-AF65-F5344CB8AC3E}">
        <p14:creationId xmlns:p14="http://schemas.microsoft.com/office/powerpoint/2010/main" val="353731695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72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0" name="Right Arrow 14"/>
          <p:cNvSpPr/>
          <p:nvPr/>
        </p:nvSpPr>
        <p:spPr>
          <a:xfrm rot="8061041">
            <a:off x="2691221" y="2354811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r Verbinde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689573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82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2854235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4147456" y="2795454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5400000">
            <a:off x="3324666" y="235481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458444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529046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3180720" y="1952897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10800000">
            <a:off x="2906651" y="169410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9061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308771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87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>
            <p:custDataLst>
              <p:tags r:id="rId2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03232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 rot="16200000">
            <a:off x="226173" y="84909"/>
            <a:ext cx="6746967" cy="6936376"/>
            <a:chOff x="226173" y="84909"/>
            <a:chExt cx="6746967" cy="6936376"/>
          </a:xfrm>
        </p:grpSpPr>
        <p:sp>
          <p:nvSpPr>
            <p:cNvPr id="7" name="Rechteck 6"/>
            <p:cNvSpPr/>
            <p:nvPr>
              <p:custDataLst>
                <p:tags r:id="rId2"/>
              </p:custDataLst>
            </p:nvPr>
          </p:nvSpPr>
          <p:spPr>
            <a:xfrm>
              <a:off x="226174" y="1463040"/>
              <a:ext cx="6746966" cy="4180114"/>
            </a:xfrm>
            <a:custGeom>
              <a:avLst/>
              <a:gdLst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2700 w 139700"/>
                <a:gd name="connsiteY0" fmla="*/ 12700 h 139700"/>
                <a:gd name="connsiteX1" fmla="*/ 0 w 139700"/>
                <a:gd name="connsiteY1" fmla="*/ 0 h 139700"/>
                <a:gd name="connsiteX2" fmla="*/ 139700 w 139700"/>
                <a:gd name="connsiteY2" fmla="*/ 12700 h 139700"/>
                <a:gd name="connsiteX3" fmla="*/ 139700 w 139700"/>
                <a:gd name="connsiteY3" fmla="*/ 139700 h 139700"/>
                <a:gd name="connsiteX4" fmla="*/ 12700 w 139700"/>
                <a:gd name="connsiteY4" fmla="*/ 139700 h 139700"/>
                <a:gd name="connsiteX5" fmla="*/ 12700 w 139700"/>
                <a:gd name="connsiteY5" fmla="*/ 12700 h 139700"/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313178 w 1313178"/>
                <a:gd name="connsiteY0" fmla="*/ 1450340 h 1450340"/>
                <a:gd name="connsiteX1" fmla="*/ 127000 w 1313178"/>
                <a:gd name="connsiteY1" fmla="*/ 0 h 1450340"/>
                <a:gd name="connsiteX2" fmla="*/ 127000 w 1313178"/>
                <a:gd name="connsiteY2" fmla="*/ 127000 h 1450340"/>
                <a:gd name="connsiteX3" fmla="*/ 0 w 1313178"/>
                <a:gd name="connsiteY3" fmla="*/ 127000 h 1450340"/>
                <a:gd name="connsiteX4" fmla="*/ 0 w 1313178"/>
                <a:gd name="connsiteY4" fmla="*/ 0 h 1450340"/>
                <a:gd name="connsiteX0" fmla="*/ 1313178 w 3514272"/>
                <a:gd name="connsiteY0" fmla="*/ 1450340 h 1450340"/>
                <a:gd name="connsiteX1" fmla="*/ 3514272 w 3514272"/>
                <a:gd name="connsiteY1" fmla="*/ 1450340 h 1450340"/>
                <a:gd name="connsiteX2" fmla="*/ 127000 w 3514272"/>
                <a:gd name="connsiteY2" fmla="*/ 127000 h 1450340"/>
                <a:gd name="connsiteX3" fmla="*/ 0 w 3514272"/>
                <a:gd name="connsiteY3" fmla="*/ 127000 h 1450340"/>
                <a:gd name="connsiteX4" fmla="*/ 0 w 3514272"/>
                <a:gd name="connsiteY4" fmla="*/ 0 h 1450340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0 w 6960439"/>
                <a:gd name="connsiteY3" fmla="*/ 127000 h 5630454"/>
                <a:gd name="connsiteX4" fmla="*/ 0 w 6960439"/>
                <a:gd name="connsiteY4" fmla="*/ 0 h 5630454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213473 w 6960439"/>
                <a:gd name="connsiteY3" fmla="*/ 5630454 h 5630454"/>
                <a:gd name="connsiteX4" fmla="*/ 0 w 6960439"/>
                <a:gd name="connsiteY4" fmla="*/ 0 h 5630454"/>
                <a:gd name="connsiteX0" fmla="*/ 1099705 w 6746966"/>
                <a:gd name="connsiteY0" fmla="*/ 0 h 4180114"/>
                <a:gd name="connsiteX1" fmla="*/ 3300799 w 6746966"/>
                <a:gd name="connsiteY1" fmla="*/ 0 h 4180114"/>
                <a:gd name="connsiteX2" fmla="*/ 6746966 w 6746966"/>
                <a:gd name="connsiteY2" fmla="*/ 4180114 h 4180114"/>
                <a:gd name="connsiteX3" fmla="*/ 0 w 6746966"/>
                <a:gd name="connsiteY3" fmla="*/ 4180114 h 4180114"/>
                <a:gd name="connsiteX4" fmla="*/ 1099705 w 6746966"/>
                <a:gd name="connsiteY4" fmla="*/ 0 h 418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6966" h="4180114">
                  <a:moveTo>
                    <a:pt x="1099705" y="0"/>
                  </a:moveTo>
                  <a:lnTo>
                    <a:pt x="3300799" y="0"/>
                  </a:lnTo>
                  <a:lnTo>
                    <a:pt x="6746966" y="4180114"/>
                  </a:lnTo>
                  <a:lnTo>
                    <a:pt x="0" y="4180114"/>
                  </a:lnTo>
                  <a:lnTo>
                    <a:pt x="1099705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 w="762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76200" cap="flat" cmpd="sng" algn="ctr">
                  <a:solidFill>
                    <a:schemeClr val="tx1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Gerader Verbinder 8"/>
            <p:cNvCxnSpPr/>
            <p:nvPr/>
          </p:nvCxnSpPr>
          <p:spPr>
            <a:xfrm flipH="1">
              <a:off x="226174" y="1417320"/>
              <a:ext cx="1099704" cy="422583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/>
          </p:nvCxnSpPr>
          <p:spPr>
            <a:xfrm>
              <a:off x="3526972" y="1417320"/>
              <a:ext cx="3446167" cy="427155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hteck 4"/>
            <p:cNvSpPr/>
            <p:nvPr/>
          </p:nvSpPr>
          <p:spPr>
            <a:xfrm>
              <a:off x="1325878" y="84909"/>
              <a:ext cx="2201094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226173" y="5643154"/>
              <a:ext cx="6746966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781032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41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>
            <p:custDataLst>
              <p:tags r:id="rId2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4614819 w 4614819"/>
              <a:gd name="connsiteY0" fmla="*/ 1450340 h 1450340"/>
              <a:gd name="connsiteX1" fmla="*/ 127000 w 4614819"/>
              <a:gd name="connsiteY1" fmla="*/ 0 h 1450340"/>
              <a:gd name="connsiteX2" fmla="*/ 127000 w 4614819"/>
              <a:gd name="connsiteY2" fmla="*/ 127000 h 1450340"/>
              <a:gd name="connsiteX3" fmla="*/ 0 w 4614819"/>
              <a:gd name="connsiteY3" fmla="*/ 127000 h 1450340"/>
              <a:gd name="connsiteX4" fmla="*/ 0 w 4614819"/>
              <a:gd name="connsiteY4" fmla="*/ 0 h 1450340"/>
              <a:gd name="connsiteX0" fmla="*/ 4614819 w 6815913"/>
              <a:gd name="connsiteY0" fmla="*/ 1450340 h 1450340"/>
              <a:gd name="connsiteX1" fmla="*/ 6815913 w 6815913"/>
              <a:gd name="connsiteY1" fmla="*/ 1450340 h 1450340"/>
              <a:gd name="connsiteX2" fmla="*/ 127000 w 6815913"/>
              <a:gd name="connsiteY2" fmla="*/ 127000 h 1450340"/>
              <a:gd name="connsiteX3" fmla="*/ 0 w 6815913"/>
              <a:gd name="connsiteY3" fmla="*/ 127000 h 1450340"/>
              <a:gd name="connsiteX4" fmla="*/ 0 w 6815913"/>
              <a:gd name="connsiteY4" fmla="*/ 0 h 1450340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4401346 w 6746966"/>
              <a:gd name="connsiteY0" fmla="*/ 0 h 4180114"/>
              <a:gd name="connsiteX1" fmla="*/ 6602440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4401346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4401346" y="0"/>
                </a:moveTo>
                <a:lnTo>
                  <a:pt x="6602440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4401346" y="0"/>
                </a:lnTo>
                <a:close/>
              </a:path>
            </a:pathLst>
          </a:custGeom>
          <a:solidFill>
            <a:schemeClr val="bg2"/>
          </a:solidFill>
          <a:ln w="76200" cap="flat" cmpd="sng" algn="ctr">
            <a:solidFill>
              <a:schemeClr val="tx1">
                <a:lumMod val="100000"/>
              </a:schemeClr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627519" y="84909"/>
            <a:ext cx="2201094" cy="1378131"/>
          </a:xfrm>
          <a:prstGeom prst="rect">
            <a:avLst/>
          </a:prstGeom>
          <a:solidFill>
            <a:schemeClr val="bg2"/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5460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100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50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273629" y="4201846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76049" y="2399422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6157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95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378003" y="4143567"/>
            <a:ext cx="1642277" cy="164227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20280" y="2503798"/>
            <a:ext cx="1639769" cy="163976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47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7219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349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402522" y="402522"/>
            <a:ext cx="6394269" cy="6394269"/>
          </a:xfrm>
          <a:prstGeom prst="rect">
            <a:avLst/>
          </a:prstGeom>
          <a:solidFill>
            <a:schemeClr val="bg2"/>
          </a:solidFill>
          <a:ln w="3810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444137" y="437606"/>
            <a:ext cx="1567543" cy="6394269"/>
          </a:xfrm>
          <a:prstGeom prst="rect">
            <a:avLst/>
          </a:prstGeom>
          <a:noFill/>
          <a:ln w="381000" cap="sq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101737" y="402522"/>
            <a:ext cx="2695054" cy="6394269"/>
          </a:xfrm>
          <a:prstGeom prst="rect">
            <a:avLst/>
          </a:prstGeom>
          <a:noFill/>
          <a:ln w="381000" cap="flat" algn="in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>
            <a:off x="3599656" y="0"/>
            <a:ext cx="0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1659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5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51657" y="251657"/>
            <a:ext cx="6696000" cy="6696000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9000000"/>
              </a:avLst>
            </a:prstGeom>
            <a:solidFill>
              <a:srgbClr val="808080"/>
            </a:solidFill>
            <a:ln w="381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44024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51657" y="251657"/>
            <a:ext cx="6696000" cy="6696000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9000000"/>
              </a:avLst>
            </a:prstGeom>
            <a:solidFill>
              <a:srgbClr val="808080"/>
            </a:solidFill>
            <a:ln w="381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C29D2905-884F-FDB5-7C40-AAC6E786FF66}"/>
              </a:ext>
            </a:extLst>
          </p:cNvPr>
          <p:cNvCxnSpPr>
            <a:cxnSpLocks/>
          </p:cNvCxnSpPr>
          <p:nvPr/>
        </p:nvCxnSpPr>
        <p:spPr>
          <a:xfrm flipH="1" flipV="1">
            <a:off x="409242" y="3056526"/>
            <a:ext cx="3139653" cy="492369"/>
          </a:xfrm>
          <a:prstGeom prst="line">
            <a:avLst/>
          </a:prstGeom>
          <a:ln w="381000" cap="rnd">
            <a:solidFill>
              <a:srgbClr val="808080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050700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01105" y="169133"/>
            <a:ext cx="3251874" cy="3251874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accent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chemeClr val="accent2">
                <a:lumMod val="100000"/>
              </a:schemeClr>
            </a:solidFill>
            <a:ln w="127000">
              <a:solidFill>
                <a:schemeClr val="accent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52202E-C538-22DC-7B02-5DAEF181802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812979" y="169133"/>
            <a:ext cx="3251874" cy="3251874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BE568A1C-0AA3-B5A7-F594-0C3060C32E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accent5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Kreis 5">
              <a:extLst>
                <a:ext uri="{FF2B5EF4-FFF2-40B4-BE49-F238E27FC236}">
                  <a16:creationId xmlns:a16="http://schemas.microsoft.com/office/drawing/2014/main" id="{02272D26-330F-0D60-05DD-DA458ED33C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chemeClr val="accent5">
                <a:lumMod val="100000"/>
              </a:schemeClr>
            </a:solidFill>
            <a:ln w="127000">
              <a:solidFill>
                <a:schemeClr val="accent5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91B5900-0EC7-D511-5976-1B31205ECEAA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201105" y="3781007"/>
            <a:ext cx="3251874" cy="3251874"/>
            <a:chOff x="1270000" y="1270000"/>
            <a:chExt cx="381000" cy="381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D7B9223-9716-E651-C1EB-4105166D21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accent6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Kreis 5">
              <a:extLst>
                <a:ext uri="{FF2B5EF4-FFF2-40B4-BE49-F238E27FC236}">
                  <a16:creationId xmlns:a16="http://schemas.microsoft.com/office/drawing/2014/main" id="{267CFBCA-1B65-D734-5A19-0F181C0B4B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chemeClr val="accent6">
                <a:lumMod val="100000"/>
              </a:schemeClr>
            </a:solidFill>
            <a:ln w="127000">
              <a:solidFill>
                <a:schemeClr val="accent6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5A6F20D-E7CC-7B12-0590-01E2E7D7A188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812979" y="3781007"/>
            <a:ext cx="3251874" cy="3251874"/>
            <a:chOff x="1270000" y="1270000"/>
            <a:chExt cx="381000" cy="381000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5B6BD1FC-0867-B514-7095-52C28FEA58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accent4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Kreis 5">
              <a:extLst>
                <a:ext uri="{FF2B5EF4-FFF2-40B4-BE49-F238E27FC236}">
                  <a16:creationId xmlns:a16="http://schemas.microsoft.com/office/drawing/2014/main" id="{8A468E29-0E9E-C27D-DA34-264E8639D0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chemeClr val="accent4">
                <a:lumMod val="100000"/>
              </a:schemeClr>
            </a:solidFill>
            <a:ln w="127000">
              <a:solidFill>
                <a:schemeClr val="accent4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296366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01105" y="169133"/>
            <a:ext cx="3251874" cy="3251874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accent2">
                <a:lumMod val="100000"/>
              </a:schemeClr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52202E-C538-22DC-7B02-5DAEF181802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812979" y="169133"/>
            <a:ext cx="3251874" cy="3251874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BE568A1C-0AA3-B5A7-F594-0C3060C32E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accent5">
                <a:lumMod val="100000"/>
              </a:schemeClr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Kreis 5">
              <a:extLst>
                <a:ext uri="{FF2B5EF4-FFF2-40B4-BE49-F238E27FC236}">
                  <a16:creationId xmlns:a16="http://schemas.microsoft.com/office/drawing/2014/main" id="{02272D26-330F-0D60-05DD-DA458ED33C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91B5900-0EC7-D511-5976-1B31205ECEAA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201105" y="3781007"/>
            <a:ext cx="3251874" cy="3251874"/>
            <a:chOff x="1270000" y="1270000"/>
            <a:chExt cx="381000" cy="381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D7B9223-9716-E651-C1EB-4105166D21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accent6">
                <a:lumMod val="100000"/>
              </a:schemeClr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Kreis 5">
              <a:extLst>
                <a:ext uri="{FF2B5EF4-FFF2-40B4-BE49-F238E27FC236}">
                  <a16:creationId xmlns:a16="http://schemas.microsoft.com/office/drawing/2014/main" id="{267CFBCA-1B65-D734-5A19-0F181C0B4B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5A6F20D-E7CC-7B12-0590-01E2E7D7A188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812979" y="3781007"/>
            <a:ext cx="3251874" cy="3251874"/>
            <a:chOff x="1270000" y="1270000"/>
            <a:chExt cx="381000" cy="381000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5B6BD1FC-0867-B514-7095-52C28FEA58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accent4">
                <a:lumMod val="100000"/>
              </a:schemeClr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Kreis 5">
              <a:extLst>
                <a:ext uri="{FF2B5EF4-FFF2-40B4-BE49-F238E27FC236}">
                  <a16:creationId xmlns:a16="http://schemas.microsoft.com/office/drawing/2014/main" id="{8A468E29-0E9E-C27D-DA34-264E8639D0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0824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9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67695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223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452202E-C538-22DC-7B02-5DAEF181802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890916" y="247070"/>
            <a:ext cx="3096000" cy="3096000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BE568A1C-0AA3-B5A7-F594-0C3060C32E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>
              <a:solidFill>
                <a:schemeClr val="accent5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Kreis 5">
              <a:extLst>
                <a:ext uri="{FF2B5EF4-FFF2-40B4-BE49-F238E27FC236}">
                  <a16:creationId xmlns:a16="http://schemas.microsoft.com/office/drawing/2014/main" id="{02272D26-330F-0D60-05DD-DA458ED33C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>
              <a:solidFill>
                <a:schemeClr val="accent5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91B5900-0EC7-D511-5976-1B31205ECEA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79042" y="3858944"/>
            <a:ext cx="3096000" cy="3096000"/>
            <a:chOff x="1270000" y="1270000"/>
            <a:chExt cx="381000" cy="381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D7B9223-9716-E651-C1EB-4105166D21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>
              <a:solidFill>
                <a:schemeClr val="accent6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Kreis 5">
              <a:extLst>
                <a:ext uri="{FF2B5EF4-FFF2-40B4-BE49-F238E27FC236}">
                  <a16:creationId xmlns:a16="http://schemas.microsoft.com/office/drawing/2014/main" id="{267CFBCA-1B65-D734-5A19-0F181C0B4B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>
              <a:solidFill>
                <a:schemeClr val="accent6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5A6F20D-E7CC-7B12-0590-01E2E7D7A188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890916" y="3858944"/>
            <a:ext cx="3096000" cy="3096000"/>
            <a:chOff x="1270000" y="1270000"/>
            <a:chExt cx="381000" cy="381000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5B6BD1FC-0867-B514-7095-52C28FEA58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>
              <a:solidFill>
                <a:schemeClr val="accent4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Kreis 5">
              <a:extLst>
                <a:ext uri="{FF2B5EF4-FFF2-40B4-BE49-F238E27FC236}">
                  <a16:creationId xmlns:a16="http://schemas.microsoft.com/office/drawing/2014/main" id="{8A468E29-0E9E-C27D-DA34-264E8639D0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>
              <a:solidFill>
                <a:schemeClr val="accent4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B6AF3435-927A-011A-16A6-3936A3D5C730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279042" y="247070"/>
            <a:ext cx="3096000" cy="3096000"/>
            <a:chOff x="1270000" y="1270000"/>
            <a:chExt cx="381000" cy="38100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81A18BB9-2E03-C5D1-8ACF-1AE25CF782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Kreis 5">
              <a:extLst>
                <a:ext uri="{FF2B5EF4-FFF2-40B4-BE49-F238E27FC236}">
                  <a16:creationId xmlns:a16="http://schemas.microsoft.com/office/drawing/2014/main" id="{20F9DAC0-4EE6-E384-75B0-4E6DAF7A7D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494514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B6AF3435-927A-011A-16A6-3936A3D5C73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40551" y="340551"/>
            <a:ext cx="6518211" cy="6518211"/>
            <a:chOff x="1270000" y="1270000"/>
            <a:chExt cx="381000" cy="38100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81A18BB9-2E03-C5D1-8ACF-1AE25CF782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381000" cap="flat" cmpd="sng" algn="ctr">
                  <a:solidFill>
                    <a:schemeClr val="accent2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Kreis 5">
              <a:extLst>
                <a:ext uri="{FF2B5EF4-FFF2-40B4-BE49-F238E27FC236}">
                  <a16:creationId xmlns:a16="http://schemas.microsoft.com/office/drawing/2014/main" id="{20F9DAC0-4EE6-E384-75B0-4E6DAF7A7D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381000" cap="flat" cmpd="sng" algn="ctr">
                  <a:solidFill>
                    <a:schemeClr val="accent2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472141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B6AF3435-927A-011A-16A6-3936A3D5C73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243608" y="3243608"/>
            <a:ext cx="3744000" cy="3744000"/>
            <a:chOff x="1270000" y="1270000"/>
            <a:chExt cx="381000" cy="381000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81A18BB9-2E03-C5D1-8ACF-1AE25CF782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Kreis 5">
              <a:extLst>
                <a:ext uri="{FF2B5EF4-FFF2-40B4-BE49-F238E27FC236}">
                  <a16:creationId xmlns:a16="http://schemas.microsoft.com/office/drawing/2014/main" id="{20F9DAC0-4EE6-E384-75B0-4E6DAF7A7D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pie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8D1A566-5DE9-B216-AC0D-87473177472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04621" y="211015"/>
            <a:ext cx="3744000" cy="3744000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7AB1DEA4-2841-FBB0-F63E-63F3BCC7E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Kreis 5">
              <a:extLst>
                <a:ext uri="{FF2B5EF4-FFF2-40B4-BE49-F238E27FC236}">
                  <a16:creationId xmlns:a16="http://schemas.microsoft.com/office/drawing/2014/main" id="{3149805D-F270-A535-F3AA-CA431D3544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3810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9" name="Pfeil: gebogen 8">
            <a:extLst>
              <a:ext uri="{FF2B5EF4-FFF2-40B4-BE49-F238E27FC236}">
                <a16:creationId xmlns:a16="http://schemas.microsoft.com/office/drawing/2014/main" id="{BB841C98-3A72-F6D5-500B-5D69937C5DE3}"/>
              </a:ext>
            </a:extLst>
          </p:cNvPr>
          <p:cNvSpPr/>
          <p:nvPr/>
        </p:nvSpPr>
        <p:spPr>
          <a:xfrm rot="3098115">
            <a:off x="3864182" y="674679"/>
            <a:ext cx="2535975" cy="2291476"/>
          </a:xfrm>
          <a:prstGeom prst="circular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feil: gebogen 9">
            <a:extLst>
              <a:ext uri="{FF2B5EF4-FFF2-40B4-BE49-F238E27FC236}">
                <a16:creationId xmlns:a16="http://schemas.microsoft.com/office/drawing/2014/main" id="{10E6A648-447D-9E74-778B-E81A53C513B1}"/>
              </a:ext>
            </a:extLst>
          </p:cNvPr>
          <p:cNvSpPr/>
          <p:nvPr/>
        </p:nvSpPr>
        <p:spPr>
          <a:xfrm rot="2987690" flipH="1" flipV="1">
            <a:off x="744396" y="3969870"/>
            <a:ext cx="2535975" cy="2291476"/>
          </a:xfrm>
          <a:prstGeom prst="circular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21612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8D1A566-5DE9-B216-AC0D-87473177472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04621" y="211015"/>
            <a:ext cx="3744000" cy="3744000"/>
            <a:chOff x="1270000" y="1270000"/>
            <a:chExt cx="381000" cy="381000"/>
          </a:xfrm>
        </p:grpSpPr>
        <p:sp>
          <p:nvSpPr>
            <p:cNvPr id="3" name="Ellipse 2">
              <a:extLst>
                <a:ext uri="{FF2B5EF4-FFF2-40B4-BE49-F238E27FC236}">
                  <a16:creationId xmlns:a16="http://schemas.microsoft.com/office/drawing/2014/main" id="{7AB1DEA4-2841-FBB0-F63E-63F3BCC7E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127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Kreis 5">
              <a:extLst>
                <a:ext uri="{FF2B5EF4-FFF2-40B4-BE49-F238E27FC236}">
                  <a16:creationId xmlns:a16="http://schemas.microsoft.com/office/drawing/2014/main" id="{3149805D-F270-A535-F3AA-CA431D3544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" name="Pfeil: gebogen 6">
            <a:extLst>
              <a:ext uri="{FF2B5EF4-FFF2-40B4-BE49-F238E27FC236}">
                <a16:creationId xmlns:a16="http://schemas.microsoft.com/office/drawing/2014/main" id="{16E88505-D2E4-09B6-C341-083C29D07D31}"/>
              </a:ext>
            </a:extLst>
          </p:cNvPr>
          <p:cNvSpPr/>
          <p:nvPr/>
        </p:nvSpPr>
        <p:spPr>
          <a:xfrm rot="3098115">
            <a:off x="3864182" y="674679"/>
            <a:ext cx="2535975" cy="2291476"/>
          </a:xfrm>
          <a:prstGeom prst="circular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feil: gebogen 7">
            <a:extLst>
              <a:ext uri="{FF2B5EF4-FFF2-40B4-BE49-F238E27FC236}">
                <a16:creationId xmlns:a16="http://schemas.microsoft.com/office/drawing/2014/main" id="{BD7A6D71-10E1-A0F2-4A22-B7CA3D152ABD}"/>
              </a:ext>
            </a:extLst>
          </p:cNvPr>
          <p:cNvSpPr/>
          <p:nvPr/>
        </p:nvSpPr>
        <p:spPr>
          <a:xfrm rot="2987690" flipH="1" flipV="1">
            <a:off x="744396" y="3969870"/>
            <a:ext cx="2535975" cy="2291476"/>
          </a:xfrm>
          <a:prstGeom prst="circular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B853C6C-750F-E596-A172-366FAFD867F2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 flipH="1">
            <a:off x="3148351" y="3190808"/>
            <a:ext cx="3744000" cy="3744000"/>
            <a:chOff x="1270000" y="1270000"/>
            <a:chExt cx="381000" cy="3810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7E65B0E1-354E-B34A-F9F1-85DE1037EF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>
                <a:lumMod val="100000"/>
              </a:schemeClr>
            </a:solidFill>
            <a:ln w="127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Kreis 5">
              <a:extLst>
                <a:ext uri="{FF2B5EF4-FFF2-40B4-BE49-F238E27FC236}">
                  <a16:creationId xmlns:a16="http://schemas.microsoft.com/office/drawing/2014/main" id="{B7645F7D-AF4E-8318-92B5-878C561B9F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arc">
              <a:avLst>
                <a:gd name="adj1" fmla="val 16200000"/>
                <a:gd name="adj2" fmla="val 1800000"/>
              </a:avLst>
            </a:prstGeom>
            <a:solidFill>
              <a:srgbClr val="808080"/>
            </a:solidFill>
            <a:ln w="127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329082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51657" y="251657"/>
            <a:ext cx="6696000" cy="6696000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0">
              <a:solidFill>
                <a:srgbClr val="80808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308100" y="1308100"/>
              <a:ext cx="304800" cy="304800"/>
            </a:xfrm>
            <a:prstGeom prst="arc">
              <a:avLst>
                <a:gd name="adj1" fmla="val 16200000"/>
                <a:gd name="adj2" fmla="val 9000000"/>
              </a:avLst>
            </a:prstGeom>
            <a:solidFill>
              <a:srgbClr val="808080"/>
            </a:solidFill>
            <a:ln w="381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381000" cap="flat" cmpd="sng" algn="ctr">
                  <a:solidFill>
                    <a:srgbClr val="808080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91648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95660" y="395660"/>
            <a:ext cx="6408001" cy="6408001"/>
            <a:chOff x="1250950" y="1250950"/>
            <a:chExt cx="419100" cy="4191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0">
              <a:solidFill>
                <a:srgbClr val="80808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50950" y="1250950"/>
              <a:ext cx="419100" cy="419100"/>
            </a:xfrm>
            <a:prstGeom prst="arc">
              <a:avLst>
                <a:gd name="adj1" fmla="val 16200000"/>
                <a:gd name="adj2" fmla="val 9000000"/>
              </a:avLst>
            </a:prstGeom>
            <a:solidFill>
              <a:srgbClr val="808080"/>
            </a:solidFill>
            <a:ln w="381000" cap="flat" cmpd="sng" algn="ctr">
              <a:solidFill>
                <a:srgbClr val="808080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427629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095876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 rot="5400000"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0444374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563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llipse 3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2310131" y="2310131"/>
            <a:ext cx="2579050" cy="2579050"/>
          </a:xfrm>
          <a:prstGeom prst="ellipse">
            <a:avLst/>
          </a:prstGeom>
          <a:solidFill>
            <a:srgbClr val="FF0000"/>
          </a:solidFill>
          <a:ln w="762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89092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 noChangeAspect="1"/>
          </p:cNvSpPr>
          <p:nvPr/>
        </p:nvSpPr>
        <p:spPr>
          <a:xfrm>
            <a:off x="165625" y="1592587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751641" y="2324679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>
            <a:off x="1351509" y="2857535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2065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8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414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616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 noChangeAspect="1"/>
          </p:cNvSpPr>
          <p:nvPr/>
        </p:nvSpPr>
        <p:spPr>
          <a:xfrm>
            <a:off x="3751641" y="2324679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>
            <a:off x="165625" y="1592587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 flipH="1">
            <a:off x="2293002" y="2857535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916830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 noChangeAspect="1"/>
          </p:cNvSpPr>
          <p:nvPr/>
        </p:nvSpPr>
        <p:spPr>
          <a:xfrm rot="5400000" flipH="1">
            <a:off x="2324679" y="3751641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 rot="5400000" flipH="1"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5400000" flipH="1">
            <a:off x="1592587" y="165625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4"/>
          <p:cNvSpPr/>
          <p:nvPr/>
        </p:nvSpPr>
        <p:spPr>
          <a:xfrm rot="16200000">
            <a:off x="1791775" y="3494229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83006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948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31" imgH="631" progId="TCLayout.ActiveDocument.1">
                  <p:embed/>
                </p:oleObj>
              </mc:Choice>
              <mc:Fallback>
                <p:oleObj name="think-cell Folie" r:id="rId3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 noChangeAspect="1"/>
          </p:cNvSpPr>
          <p:nvPr/>
        </p:nvSpPr>
        <p:spPr>
          <a:xfrm rot="5400000" flipH="1">
            <a:off x="1592587" y="165625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 rot="5400000" flipH="1"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 rot="5400000" flipH="1">
            <a:off x="2324679" y="3751641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4"/>
          <p:cNvSpPr/>
          <p:nvPr/>
        </p:nvSpPr>
        <p:spPr>
          <a:xfrm rot="5400000" flipV="1">
            <a:off x="1791776" y="2471457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03870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92FD4D-6796-1D31-08CF-1C8A8BDA67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F3592E3-FD7C-A61F-9886-C454A00E0C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6" imgH="526" progId="TCLayout.ActiveDocument.1">
                  <p:embed/>
                </p:oleObj>
              </mc:Choice>
              <mc:Fallback>
                <p:oleObj name="think-cell Folie" r:id="rId3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8F7B4CA7-B3FE-D619-C711-3567DF757815}"/>
              </a:ext>
            </a:extLst>
          </p:cNvPr>
          <p:cNvSpPr/>
          <p:nvPr/>
        </p:nvSpPr>
        <p:spPr>
          <a:xfrm>
            <a:off x="4771" y="0"/>
            <a:ext cx="7194542" cy="719931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DA5FB9F-D325-0434-4DD6-4E5A385D330A}"/>
              </a:ext>
            </a:extLst>
          </p:cNvPr>
          <p:cNvSpPr>
            <a:spLocks/>
          </p:cNvSpPr>
          <p:nvPr/>
        </p:nvSpPr>
        <p:spPr>
          <a:xfrm>
            <a:off x="4096265" y="956340"/>
            <a:ext cx="271574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B92D99E-8FA5-635B-6696-C597A2840ADB}"/>
              </a:ext>
            </a:extLst>
          </p:cNvPr>
          <p:cNvSpPr>
            <a:spLocks/>
          </p:cNvSpPr>
          <p:nvPr/>
        </p:nvSpPr>
        <p:spPr>
          <a:xfrm>
            <a:off x="291384" y="812340"/>
            <a:ext cx="2414745" cy="576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Eingekerbter Richtungspfeil 16">
            <a:extLst>
              <a:ext uri="{FF2B5EF4-FFF2-40B4-BE49-F238E27FC236}">
                <a16:creationId xmlns:a16="http://schemas.microsoft.com/office/drawing/2014/main" id="{1B54CC91-B254-694E-4816-1A39517764EB}"/>
              </a:ext>
            </a:extLst>
          </p:cNvPr>
          <p:cNvSpPr/>
          <p:nvPr/>
        </p:nvSpPr>
        <p:spPr>
          <a:xfrm>
            <a:off x="1672073" y="68884"/>
            <a:ext cx="1800176" cy="2062912"/>
          </a:xfrm>
          <a:prstGeom prst="chevron">
            <a:avLst>
              <a:gd name="adj" fmla="val 53995"/>
            </a:avLst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D860FC4-5DAC-25D0-F4CF-C505C06023B1}"/>
              </a:ext>
            </a:extLst>
          </p:cNvPr>
          <p:cNvSpPr>
            <a:spLocks/>
          </p:cNvSpPr>
          <p:nvPr/>
        </p:nvSpPr>
        <p:spPr>
          <a:xfrm>
            <a:off x="291385" y="2792340"/>
            <a:ext cx="652062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C9CE496-F188-BF6F-6E5A-8E4E14246972}"/>
              </a:ext>
            </a:extLst>
          </p:cNvPr>
          <p:cNvSpPr>
            <a:spLocks/>
          </p:cNvSpPr>
          <p:nvPr/>
        </p:nvSpPr>
        <p:spPr>
          <a:xfrm>
            <a:off x="291385" y="4628340"/>
            <a:ext cx="652062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6B44527-00E4-EF66-29D8-CCAB3398008A}"/>
              </a:ext>
            </a:extLst>
          </p:cNvPr>
          <p:cNvSpPr>
            <a:spLocks/>
          </p:cNvSpPr>
          <p:nvPr/>
        </p:nvSpPr>
        <p:spPr>
          <a:xfrm>
            <a:off x="291385" y="6464340"/>
            <a:ext cx="652062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455267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3468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6" imgH="526" progId="TCLayout.ActiveDocument.1">
                  <p:embed/>
                </p:oleObj>
              </mc:Choice>
              <mc:Fallback>
                <p:oleObj name="think-cell Folie" r:id="rId3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2D009BB6-F860-4A87-1204-9F29016CE277}"/>
              </a:ext>
            </a:extLst>
          </p:cNvPr>
          <p:cNvSpPr/>
          <p:nvPr/>
        </p:nvSpPr>
        <p:spPr>
          <a:xfrm>
            <a:off x="4771" y="0"/>
            <a:ext cx="7194542" cy="719931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339345" y="4040701"/>
            <a:ext cx="652062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39345" y="5336701"/>
            <a:ext cx="652062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39345" y="6632701"/>
            <a:ext cx="652062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46588BA-C7F9-6339-42AC-8923CC8B04AC}"/>
              </a:ext>
            </a:extLst>
          </p:cNvPr>
          <p:cNvGrpSpPr/>
          <p:nvPr/>
        </p:nvGrpSpPr>
        <p:grpSpPr>
          <a:xfrm rot="5400000">
            <a:off x="2009224" y="804242"/>
            <a:ext cx="3180865" cy="2062912"/>
            <a:chOff x="291384" y="68884"/>
            <a:chExt cx="3180865" cy="2062912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7889132B-48AA-4921-4674-E66CD99AFF3C}"/>
                </a:ext>
              </a:extLst>
            </p:cNvPr>
            <p:cNvSpPr>
              <a:spLocks/>
            </p:cNvSpPr>
            <p:nvPr/>
          </p:nvSpPr>
          <p:spPr>
            <a:xfrm>
              <a:off x="291384" y="812340"/>
              <a:ext cx="2414745" cy="576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Eingekerbter Richtungspfeil 16">
              <a:extLst>
                <a:ext uri="{FF2B5EF4-FFF2-40B4-BE49-F238E27FC236}">
                  <a16:creationId xmlns:a16="http://schemas.microsoft.com/office/drawing/2014/main" id="{53C27B88-26AF-BAE8-7A90-677CAD6ED17D}"/>
                </a:ext>
              </a:extLst>
            </p:cNvPr>
            <p:cNvSpPr/>
            <p:nvPr/>
          </p:nvSpPr>
          <p:spPr>
            <a:xfrm>
              <a:off x="1672073" y="68884"/>
              <a:ext cx="1800176" cy="2062912"/>
            </a:xfrm>
            <a:prstGeom prst="chevron">
              <a:avLst>
                <a:gd name="adj" fmla="val 53995"/>
              </a:avLst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964721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9C5832-8489-5303-649A-9CE8078FE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87C0A9C-587E-B3B3-7831-DEEC4E59AF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6" imgH="526" progId="TCLayout.ActiveDocument.1">
                  <p:embed/>
                </p:oleObj>
              </mc:Choice>
              <mc:Fallback>
                <p:oleObj name="think-cell Folie" r:id="rId3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AF3468C5-F87A-6CD4-6DAA-3BF9BC2F3977}"/>
              </a:ext>
            </a:extLst>
          </p:cNvPr>
          <p:cNvSpPr/>
          <p:nvPr/>
        </p:nvSpPr>
        <p:spPr>
          <a:xfrm>
            <a:off x="4771" y="0"/>
            <a:ext cx="7194542" cy="719931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8F625F4-416C-6C94-3279-275E4C92B33D}"/>
              </a:ext>
            </a:extLst>
          </p:cNvPr>
          <p:cNvSpPr>
            <a:spLocks/>
          </p:cNvSpPr>
          <p:nvPr/>
        </p:nvSpPr>
        <p:spPr>
          <a:xfrm>
            <a:off x="339345" y="344444"/>
            <a:ext cx="652062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4D76F9A-F1E5-EEF3-256C-4C11E2DE656E}"/>
              </a:ext>
            </a:extLst>
          </p:cNvPr>
          <p:cNvSpPr>
            <a:spLocks/>
          </p:cNvSpPr>
          <p:nvPr/>
        </p:nvSpPr>
        <p:spPr>
          <a:xfrm>
            <a:off x="339345" y="1640444"/>
            <a:ext cx="652062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F391696-5AE0-6119-D7B2-2C01B9576037}"/>
              </a:ext>
            </a:extLst>
          </p:cNvPr>
          <p:cNvSpPr>
            <a:spLocks/>
          </p:cNvSpPr>
          <p:nvPr/>
        </p:nvSpPr>
        <p:spPr>
          <a:xfrm>
            <a:off x="339345" y="2936444"/>
            <a:ext cx="6520624" cy="288000"/>
          </a:xfrm>
          <a:prstGeom prst="rect">
            <a:avLst/>
          </a:prstGeom>
          <a:solidFill>
            <a:srgbClr val="808080"/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0718681-8836-BF43-CAE0-7FD3279DA5B3}"/>
              </a:ext>
            </a:extLst>
          </p:cNvPr>
          <p:cNvGrpSpPr/>
          <p:nvPr/>
        </p:nvGrpSpPr>
        <p:grpSpPr>
          <a:xfrm rot="5400000">
            <a:off x="2009224" y="4305245"/>
            <a:ext cx="3180865" cy="2062912"/>
            <a:chOff x="291384" y="68884"/>
            <a:chExt cx="3180865" cy="2062912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6FF0F233-F2FA-4B42-A1CB-89DD1B1BC8FA}"/>
                </a:ext>
              </a:extLst>
            </p:cNvPr>
            <p:cNvSpPr>
              <a:spLocks/>
            </p:cNvSpPr>
            <p:nvPr/>
          </p:nvSpPr>
          <p:spPr>
            <a:xfrm>
              <a:off x="291384" y="812340"/>
              <a:ext cx="2414745" cy="576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Eingekerbter Richtungspfeil 16">
              <a:extLst>
                <a:ext uri="{FF2B5EF4-FFF2-40B4-BE49-F238E27FC236}">
                  <a16:creationId xmlns:a16="http://schemas.microsoft.com/office/drawing/2014/main" id="{5674ECE9-347C-43DC-90AD-B79DDBF979A2}"/>
                </a:ext>
              </a:extLst>
            </p:cNvPr>
            <p:cNvSpPr/>
            <p:nvPr/>
          </p:nvSpPr>
          <p:spPr>
            <a:xfrm>
              <a:off x="1672073" y="68884"/>
              <a:ext cx="1800176" cy="2062912"/>
            </a:xfrm>
            <a:prstGeom prst="chevron">
              <a:avLst>
                <a:gd name="adj" fmla="val 53995"/>
              </a:avLst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4864638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36A4A6-B6A7-FA47-A109-D7188A043C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8EF43C6-583E-BD16-7550-5A1E1894F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6" imgH="526" progId="TCLayout.ActiveDocument.1">
                  <p:embed/>
                </p:oleObj>
              </mc:Choice>
              <mc:Fallback>
                <p:oleObj name="think-cell Folie" r:id="rId3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1B76726-28AB-2853-9790-9098AFC6B802}"/>
              </a:ext>
            </a:extLst>
          </p:cNvPr>
          <p:cNvGrpSpPr/>
          <p:nvPr/>
        </p:nvGrpSpPr>
        <p:grpSpPr>
          <a:xfrm rot="5400000">
            <a:off x="808798" y="219229"/>
            <a:ext cx="2515954" cy="2326390"/>
            <a:chOff x="291388" y="782136"/>
            <a:chExt cx="2227163" cy="126286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C6241164-C78B-F030-167D-9AE502BA58DA}"/>
                </a:ext>
              </a:extLst>
            </p:cNvPr>
            <p:cNvSpPr/>
            <p:nvPr/>
          </p:nvSpPr>
          <p:spPr>
            <a:xfrm>
              <a:off x="291388" y="1246670"/>
              <a:ext cx="1596932" cy="33379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ingekerbter Richtungspfeil 16">
              <a:extLst>
                <a:ext uri="{FF2B5EF4-FFF2-40B4-BE49-F238E27FC236}">
                  <a16:creationId xmlns:a16="http://schemas.microsoft.com/office/drawing/2014/main" id="{49247139-FF04-C1DC-FB71-EC572BCF775D}"/>
                </a:ext>
              </a:extLst>
            </p:cNvPr>
            <p:cNvSpPr/>
            <p:nvPr/>
          </p:nvSpPr>
          <p:spPr>
            <a:xfrm>
              <a:off x="1183981" y="782136"/>
              <a:ext cx="1334570" cy="1262862"/>
            </a:xfrm>
            <a:prstGeom prst="chevron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410B1241-E2BA-8258-7F83-2C9125CF6D1D}"/>
              </a:ext>
            </a:extLst>
          </p:cNvPr>
          <p:cNvSpPr>
            <a:spLocks/>
          </p:cNvSpPr>
          <p:nvPr/>
        </p:nvSpPr>
        <p:spPr>
          <a:xfrm>
            <a:off x="291385" y="3097366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4165ED1-F31D-E1E2-B85F-3EB2F03D6B97}"/>
              </a:ext>
            </a:extLst>
          </p:cNvPr>
          <p:cNvSpPr>
            <a:spLocks/>
          </p:cNvSpPr>
          <p:nvPr/>
        </p:nvSpPr>
        <p:spPr>
          <a:xfrm>
            <a:off x="291385" y="4032562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06D8E49-4EFE-38F8-55C3-17C7AE6E6AA3}"/>
              </a:ext>
            </a:extLst>
          </p:cNvPr>
          <p:cNvSpPr>
            <a:spLocks/>
          </p:cNvSpPr>
          <p:nvPr/>
        </p:nvSpPr>
        <p:spPr>
          <a:xfrm>
            <a:off x="291385" y="4967758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E1FAEEC-86F2-D648-2CEF-69417FD2541E}"/>
              </a:ext>
            </a:extLst>
          </p:cNvPr>
          <p:cNvSpPr>
            <a:spLocks/>
          </p:cNvSpPr>
          <p:nvPr/>
        </p:nvSpPr>
        <p:spPr>
          <a:xfrm>
            <a:off x="291385" y="5902954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1709D3E-188C-D7D5-756A-AFF86B6723BF}"/>
              </a:ext>
            </a:extLst>
          </p:cNvPr>
          <p:cNvSpPr>
            <a:spLocks/>
          </p:cNvSpPr>
          <p:nvPr/>
        </p:nvSpPr>
        <p:spPr>
          <a:xfrm>
            <a:off x="291385" y="6838149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523922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605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6" imgH="526" progId="TCLayout.ActiveDocument.1">
                  <p:embed/>
                </p:oleObj>
              </mc:Choice>
              <mc:Fallback>
                <p:oleObj name="think-cell Folie" r:id="rId3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ieren 13"/>
          <p:cNvGrpSpPr/>
          <p:nvPr/>
        </p:nvGrpSpPr>
        <p:grpSpPr>
          <a:xfrm rot="5400000">
            <a:off x="808798" y="4572426"/>
            <a:ext cx="2515954" cy="2326390"/>
            <a:chOff x="291388" y="782136"/>
            <a:chExt cx="2227163" cy="1262862"/>
          </a:xfrm>
        </p:grpSpPr>
        <p:sp>
          <p:nvSpPr>
            <p:cNvPr id="15" name="Rechteck 14"/>
            <p:cNvSpPr/>
            <p:nvPr/>
          </p:nvSpPr>
          <p:spPr>
            <a:xfrm>
              <a:off x="291388" y="1246670"/>
              <a:ext cx="1596932" cy="33379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Eingekerbter Richtungspfeil 16"/>
            <p:cNvSpPr/>
            <p:nvPr/>
          </p:nvSpPr>
          <p:spPr>
            <a:xfrm>
              <a:off x="1183981" y="782136"/>
              <a:ext cx="1334570" cy="1262862"/>
            </a:xfrm>
            <a:prstGeom prst="chevron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0" name="Rechteck 19"/>
          <p:cNvSpPr>
            <a:spLocks/>
          </p:cNvSpPr>
          <p:nvPr/>
        </p:nvSpPr>
        <p:spPr>
          <a:xfrm>
            <a:off x="291385" y="12444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>
            <a:spLocks/>
          </p:cNvSpPr>
          <p:nvPr/>
        </p:nvSpPr>
        <p:spPr>
          <a:xfrm>
            <a:off x="291385" y="1059643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>
            <a:spLocks/>
          </p:cNvSpPr>
          <p:nvPr/>
        </p:nvSpPr>
        <p:spPr>
          <a:xfrm>
            <a:off x="291385" y="1994839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>
            <a:spLocks/>
          </p:cNvSpPr>
          <p:nvPr/>
        </p:nvSpPr>
        <p:spPr>
          <a:xfrm>
            <a:off x="291385" y="2930035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>
            <a:spLocks/>
          </p:cNvSpPr>
          <p:nvPr/>
        </p:nvSpPr>
        <p:spPr>
          <a:xfrm>
            <a:off x="291385" y="3865230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263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2, &quot;slide_path&quot;: &quot;CURRENT&quot;, &quot;data_type&quot;: 6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0, &quot;slide_path&quot;: &quot;CURRENT&quot;, &quot;data_type&quot;: 6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1, &quot;slide_path&quot;: &quot;CURRENT&quot;, &quot;data_type&quot;: 6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bJLoNzQFkTrsdaO3p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10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SHAPE_HARVEY" val="BKT_HARVEY_V2"/>
  <p:tag name="BKT_HARVEY_DENOM_TAG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SHAPE_HARVEY"/>
  <p:tag name="BKT_HARVEY_DENOM_TAG" val="3"/>
  <p:tag name="BKT_SHAPE_HARVEY" val="BKT_HARVEY_V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Benutzerdefiniert</PresentationFormat>
  <Paragraphs>0</Paragraphs>
  <Slides>9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7</vt:i4>
      </vt:variant>
    </vt:vector>
  </HeadingPairs>
  <TitlesOfParts>
    <vt:vector size="102" baseType="lpstr">
      <vt:lpstr>Arial</vt:lpstr>
      <vt:lpstr>Calibri</vt:lpstr>
      <vt:lpstr>Calibri Light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llmann, Florian</dc:creator>
  <cp:lastModifiedBy>Stallmann, Florian</cp:lastModifiedBy>
  <cp:revision>170</cp:revision>
  <dcterms:created xsi:type="dcterms:W3CDTF">2017-11-29T15:03:45Z</dcterms:created>
  <dcterms:modified xsi:type="dcterms:W3CDTF">2025-01-24T21:53:23Z</dcterms:modified>
</cp:coreProperties>
</file>